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20"/>
  </p:notesMasterIdLst>
  <p:sldIdLst>
    <p:sldId id="366" r:id="rId2"/>
    <p:sldId id="373" r:id="rId3"/>
    <p:sldId id="398" r:id="rId4"/>
    <p:sldId id="396" r:id="rId5"/>
    <p:sldId id="365" r:id="rId6"/>
    <p:sldId id="360" r:id="rId7"/>
    <p:sldId id="367" r:id="rId8"/>
    <p:sldId id="358" r:id="rId9"/>
    <p:sldId id="288" r:id="rId10"/>
    <p:sldId id="383" r:id="rId11"/>
    <p:sldId id="283" r:id="rId12"/>
    <p:sldId id="391" r:id="rId13"/>
    <p:sldId id="392" r:id="rId14"/>
    <p:sldId id="386" r:id="rId15"/>
    <p:sldId id="393" r:id="rId16"/>
    <p:sldId id="394" r:id="rId17"/>
    <p:sldId id="381" r:id="rId18"/>
    <p:sldId id="277" r:id="rId19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ilbert, Colleen" initials="GC" lastIdx="7" clrIdx="0"/>
  <p:cmAuthor id="1" name="Windecker, Stephan" initials="WS" lastIdx="7" clrIdx="1"/>
  <p:cmAuthor id="2" name="Dries-Devlin, Jessica, Ph.D" initials="JD" lastIdx="1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815"/>
    <a:srgbClr val="3403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/>
    <p:restoredTop sz="95560" autoAdjust="0"/>
  </p:normalViewPr>
  <p:slideViewPr>
    <p:cSldViewPr>
      <p:cViewPr>
        <p:scale>
          <a:sx n="60" d="100"/>
          <a:sy n="60" d="100"/>
        </p:scale>
        <p:origin x="-348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02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mspm1bnas03\home27\driesj2\FORWARD\FORWARD%20300pts%20TCT%20Figur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T_KM_dth!$D$3</c:f>
              <c:strCache>
                <c:ptCount val="1"/>
                <c:pt idx="0">
                  <c:v>Rate</c:v>
                </c:pt>
              </c:strCache>
            </c:strRef>
          </c:tx>
          <c:spPr>
            <a:ln w="50800">
              <a:solidFill>
                <a:srgbClr val="FFD815"/>
              </a:solidFill>
            </a:ln>
          </c:spPr>
          <c:marker>
            <c:symbol val="none"/>
          </c:marker>
          <c:xVal>
            <c:numRef>
              <c:f>T_KM_dth!$B$4:$B$53</c:f>
              <c:numCache>
                <c:formatCode>General</c:formatCode>
                <c:ptCount val="50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2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7</c:v>
                </c:pt>
                <c:pt idx="9">
                  <c:v>8</c:v>
                </c:pt>
                <c:pt idx="10">
                  <c:v>9</c:v>
                </c:pt>
                <c:pt idx="11">
                  <c:v>10</c:v>
                </c:pt>
                <c:pt idx="12">
                  <c:v>11</c:v>
                </c:pt>
                <c:pt idx="13">
                  <c:v>12</c:v>
                </c:pt>
                <c:pt idx="14">
                  <c:v>13</c:v>
                </c:pt>
                <c:pt idx="15">
                  <c:v>14</c:v>
                </c:pt>
                <c:pt idx="16">
                  <c:v>15</c:v>
                </c:pt>
                <c:pt idx="17">
                  <c:v>15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  <c:pt idx="21">
                  <c:v>18</c:v>
                </c:pt>
                <c:pt idx="22">
                  <c:v>19</c:v>
                </c:pt>
                <c:pt idx="23">
                  <c:v>20</c:v>
                </c:pt>
                <c:pt idx="24">
                  <c:v>20</c:v>
                </c:pt>
                <c:pt idx="25">
                  <c:v>21</c:v>
                </c:pt>
                <c:pt idx="26">
                  <c:v>22</c:v>
                </c:pt>
                <c:pt idx="27">
                  <c:v>22</c:v>
                </c:pt>
                <c:pt idx="28">
                  <c:v>22</c:v>
                </c:pt>
                <c:pt idx="29">
                  <c:v>23</c:v>
                </c:pt>
                <c:pt idx="30">
                  <c:v>24</c:v>
                </c:pt>
                <c:pt idx="31">
                  <c:v>25</c:v>
                </c:pt>
                <c:pt idx="32">
                  <c:v>25</c:v>
                </c:pt>
                <c:pt idx="33">
                  <c:v>26</c:v>
                </c:pt>
                <c:pt idx="34">
                  <c:v>27</c:v>
                </c:pt>
                <c:pt idx="35">
                  <c:v>27</c:v>
                </c:pt>
                <c:pt idx="36">
                  <c:v>27</c:v>
                </c:pt>
                <c:pt idx="37">
                  <c:v>28</c:v>
                </c:pt>
                <c:pt idx="38">
                  <c:v>28</c:v>
                </c:pt>
                <c:pt idx="39">
                  <c:v>29</c:v>
                </c:pt>
                <c:pt idx="40">
                  <c:v>29</c:v>
                </c:pt>
                <c:pt idx="41">
                  <c:v>29</c:v>
                </c:pt>
                <c:pt idx="42">
                  <c:v>29</c:v>
                </c:pt>
                <c:pt idx="43">
                  <c:v>29</c:v>
                </c:pt>
                <c:pt idx="44">
                  <c:v>29</c:v>
                </c:pt>
                <c:pt idx="45">
                  <c:v>29</c:v>
                </c:pt>
                <c:pt idx="46">
                  <c:v>29</c:v>
                </c:pt>
                <c:pt idx="47">
                  <c:v>29</c:v>
                </c:pt>
                <c:pt idx="48">
                  <c:v>29</c:v>
                </c:pt>
                <c:pt idx="49">
                  <c:v>30</c:v>
                </c:pt>
              </c:numCache>
            </c:numRef>
          </c:xVal>
          <c:yVal>
            <c:numRef>
              <c:f>T_KM_dth!$D$4:$D$53</c:f>
              <c:numCache>
                <c:formatCode>General</c:formatCode>
                <c:ptCount val="50"/>
                <c:pt idx="0">
                  <c:v>0</c:v>
                </c:pt>
                <c:pt idx="1">
                  <c:v>0.33333000000000002</c:v>
                </c:pt>
                <c:pt idx="2">
                  <c:v>0.33333000000000002</c:v>
                </c:pt>
                <c:pt idx="3">
                  <c:v>0.33333000000000002</c:v>
                </c:pt>
                <c:pt idx="4">
                  <c:v>0.66666999999999998</c:v>
                </c:pt>
                <c:pt idx="5">
                  <c:v>0.66666999999999998</c:v>
                </c:pt>
                <c:pt idx="6">
                  <c:v>0.66666999999999998</c:v>
                </c:pt>
                <c:pt idx="7">
                  <c:v>0.66666999999999998</c:v>
                </c:pt>
                <c:pt idx="8">
                  <c:v>0.66666999999999998</c:v>
                </c:pt>
                <c:pt idx="9">
                  <c:v>1.0022500000000001</c:v>
                </c:pt>
                <c:pt idx="10">
                  <c:v>1.0022500000000001</c:v>
                </c:pt>
                <c:pt idx="11">
                  <c:v>1.0022500000000001</c:v>
                </c:pt>
                <c:pt idx="12">
                  <c:v>1.0022500000000001</c:v>
                </c:pt>
                <c:pt idx="13">
                  <c:v>1.0022500000000001</c:v>
                </c:pt>
                <c:pt idx="14">
                  <c:v>1.0022500000000001</c:v>
                </c:pt>
                <c:pt idx="15">
                  <c:v>1.0022500000000001</c:v>
                </c:pt>
                <c:pt idx="16">
                  <c:v>1.0022500000000001</c:v>
                </c:pt>
                <c:pt idx="17">
                  <c:v>1.67571</c:v>
                </c:pt>
                <c:pt idx="18">
                  <c:v>1.67571</c:v>
                </c:pt>
                <c:pt idx="19">
                  <c:v>1.67571</c:v>
                </c:pt>
                <c:pt idx="20">
                  <c:v>2.0147599999999999</c:v>
                </c:pt>
                <c:pt idx="21">
                  <c:v>2.0147599999999999</c:v>
                </c:pt>
                <c:pt idx="22">
                  <c:v>2.0147599999999999</c:v>
                </c:pt>
                <c:pt idx="23">
                  <c:v>2.0147599999999999</c:v>
                </c:pt>
                <c:pt idx="24">
                  <c:v>2.0147599999999999</c:v>
                </c:pt>
                <c:pt idx="25">
                  <c:v>2.0147599999999999</c:v>
                </c:pt>
                <c:pt idx="26">
                  <c:v>2.0147599999999999</c:v>
                </c:pt>
                <c:pt idx="27">
                  <c:v>2.0147599999999999</c:v>
                </c:pt>
                <c:pt idx="28">
                  <c:v>2.0147599999999999</c:v>
                </c:pt>
                <c:pt idx="29">
                  <c:v>2.0147599999999999</c:v>
                </c:pt>
                <c:pt idx="30">
                  <c:v>2.0147599999999999</c:v>
                </c:pt>
                <c:pt idx="31">
                  <c:v>2.0147599999999999</c:v>
                </c:pt>
                <c:pt idx="32">
                  <c:v>2.0147599999999999</c:v>
                </c:pt>
                <c:pt idx="33">
                  <c:v>2.0147599999999999</c:v>
                </c:pt>
                <c:pt idx="34">
                  <c:v>2.0147599999999999</c:v>
                </c:pt>
                <c:pt idx="35">
                  <c:v>2.0147599999999999</c:v>
                </c:pt>
                <c:pt idx="36">
                  <c:v>2.0147599999999999</c:v>
                </c:pt>
                <c:pt idx="37">
                  <c:v>2.0147599999999999</c:v>
                </c:pt>
                <c:pt idx="38">
                  <c:v>2.0147599999999999</c:v>
                </c:pt>
                <c:pt idx="39">
                  <c:v>2.0147599999999999</c:v>
                </c:pt>
                <c:pt idx="40">
                  <c:v>2.0147599999999999</c:v>
                </c:pt>
                <c:pt idx="41">
                  <c:v>2.0147599999999999</c:v>
                </c:pt>
                <c:pt idx="42">
                  <c:v>2.0147599999999999</c:v>
                </c:pt>
                <c:pt idx="43">
                  <c:v>2.0147599999999999</c:v>
                </c:pt>
                <c:pt idx="44">
                  <c:v>2.0147599999999999</c:v>
                </c:pt>
                <c:pt idx="45">
                  <c:v>2.0147599999999999</c:v>
                </c:pt>
                <c:pt idx="46">
                  <c:v>2.0147599999999999</c:v>
                </c:pt>
                <c:pt idx="47">
                  <c:v>2.0147599999999999</c:v>
                </c:pt>
                <c:pt idx="48">
                  <c:v>2.0147599999999999</c:v>
                </c:pt>
                <c:pt idx="49">
                  <c:v>2.014759999999999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6653568"/>
        <c:axId val="93102848"/>
      </c:scatterChart>
      <c:valAx>
        <c:axId val="86653568"/>
        <c:scaling>
          <c:orientation val="minMax"/>
          <c:max val="30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Days Post-Procedure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93102848"/>
        <c:crosses val="autoZero"/>
        <c:crossBetween val="midCat"/>
        <c:majorUnit val="5"/>
      </c:valAx>
      <c:valAx>
        <c:axId val="93102848"/>
        <c:scaling>
          <c:orientation val="minMax"/>
          <c:max val="1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All-Cause Mortality (%)</a:t>
                </a:r>
              </a:p>
            </c:rich>
          </c:tx>
          <c:layout>
            <c:manualLayout>
              <c:xMode val="edge"/>
              <c:yMode val="edge"/>
              <c:x val="0"/>
              <c:y val="0.1910361302493438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86653568"/>
        <c:crosses val="autoZero"/>
        <c:crossBetween val="midCat"/>
        <c:majorUnit val="1"/>
      </c:valAx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5E96E5-828B-4C53-959C-784B5E592748}" type="datetimeFigureOut">
              <a:rPr lang="en-US" smtClean="0"/>
              <a:t>10/3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F2B0A2-7C41-4EA5-B2D2-2C1D54B119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227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52525" y="692150"/>
            <a:ext cx="4552950" cy="3416300"/>
          </a:xfrm>
          <a:ln/>
          <a:extLst/>
        </p:spPr>
      </p:sp>
      <p:sp>
        <p:nvSpPr>
          <p:cNvPr id="7171" name="Rectangle 3"/>
          <p:cNvSpPr>
            <a:spLocks noGrp="1"/>
          </p:cNvSpPr>
          <p:nvPr>
            <p:ph type="body" idx="1"/>
          </p:nvPr>
        </p:nvSpPr>
        <p:spPr>
          <a:xfrm>
            <a:off x="914608" y="4342777"/>
            <a:ext cx="5028787" cy="4115111"/>
          </a:xfrm>
          <a:noFill/>
        </p:spPr>
        <p:txBody>
          <a:bodyPr lIns="90318" tIns="45156" rIns="90318" bIns="45156"/>
          <a:lstStyle/>
          <a:p>
            <a:endParaRPr lang="en-US" alt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F2B0A2-7C41-4EA5-B2D2-2C1D54B119F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403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F2B0A2-7C41-4EA5-B2D2-2C1D54B119F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541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F2B0A2-7C41-4EA5-B2D2-2C1D54B119F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5412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F2B0A2-7C41-4EA5-B2D2-2C1D54B119F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7390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F2B0A2-7C41-4EA5-B2D2-2C1D54B119F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811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F2B0A2-7C41-4EA5-B2D2-2C1D54B119F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61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icture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6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643699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60594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04025" y="166688"/>
            <a:ext cx="2232025" cy="6073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7950" y="166688"/>
            <a:ext cx="6543675" cy="6073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398854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0"/>
          <p:cNvSpPr>
            <a:spLocks noGrp="1"/>
          </p:cNvSpPr>
          <p:nvPr>
            <p:ph type="title"/>
          </p:nvPr>
        </p:nvSpPr>
        <p:spPr>
          <a:xfrm>
            <a:off x="236482" y="296392"/>
            <a:ext cx="8450317" cy="788276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FFD815"/>
                </a:solidFill>
                <a:effectLst/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467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0"/>
          <p:cNvSpPr>
            <a:spLocks noGrp="1"/>
          </p:cNvSpPr>
          <p:nvPr>
            <p:ph type="title"/>
          </p:nvPr>
        </p:nvSpPr>
        <p:spPr>
          <a:xfrm>
            <a:off x="236482" y="296392"/>
            <a:ext cx="8450317" cy="788276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FFD815"/>
                </a:solidFill>
                <a:effectLst/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08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367287"/>
            <a:ext cx="8686800" cy="50177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0"/>
          <p:cNvSpPr>
            <a:spLocks noGrp="1"/>
          </p:cNvSpPr>
          <p:nvPr>
            <p:ph type="title"/>
          </p:nvPr>
        </p:nvSpPr>
        <p:spPr>
          <a:xfrm>
            <a:off x="236482" y="167054"/>
            <a:ext cx="8450317" cy="788276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FFD815"/>
                </a:solidFill>
                <a:effectLst/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695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Word Slide_NO Swoosh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367289"/>
            <a:ext cx="8686800" cy="5017747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  <a:lvl2pPr>
              <a:defRPr b="0">
                <a:solidFill>
                  <a:schemeClr val="bg1"/>
                </a:solidFill>
                <a:latin typeface="+mn-lt"/>
              </a:defRPr>
            </a:lvl2pPr>
            <a:lvl3pPr>
              <a:defRPr b="0">
                <a:solidFill>
                  <a:schemeClr val="bg1"/>
                </a:solidFill>
                <a:latin typeface="+mn-lt"/>
              </a:defRPr>
            </a:lvl3pPr>
            <a:lvl4pPr>
              <a:defRPr b="0">
                <a:solidFill>
                  <a:schemeClr val="bg1"/>
                </a:solidFill>
                <a:latin typeface="+mn-lt"/>
              </a:defRPr>
            </a:lvl4pPr>
            <a:lvl5pPr>
              <a:defRPr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itle 10"/>
          <p:cNvSpPr>
            <a:spLocks noGrp="1"/>
          </p:cNvSpPr>
          <p:nvPr>
            <p:ph type="title"/>
          </p:nvPr>
        </p:nvSpPr>
        <p:spPr>
          <a:xfrm>
            <a:off x="236483" y="296395"/>
            <a:ext cx="8450317" cy="788276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FFD815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378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>
                <a:solidFill>
                  <a:srgbClr val="FFDB25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551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757511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76375"/>
            <a:ext cx="3986213" cy="476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5813" y="1476375"/>
            <a:ext cx="3987800" cy="476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95123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68948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912253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723703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565149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016877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00182F"/>
            </a:gs>
            <a:gs pos="100000">
              <a:srgbClr val="003366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0" descr="Picture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07950" y="166688"/>
            <a:ext cx="8928100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476375"/>
            <a:ext cx="8126413" cy="476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7010400" y="6477000"/>
            <a:ext cx="19812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>
                <a:solidFill>
                  <a:schemeClr val="bg1"/>
                </a:solidFill>
              </a:rPr>
              <a:t>FORWARD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626" y="6477000"/>
            <a:ext cx="19812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dirty="0" smtClean="0">
                <a:solidFill>
                  <a:schemeClr val="bg1"/>
                </a:solidFill>
              </a:rPr>
              <a:t>TCT 2016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77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2" r:id="rId13"/>
    <p:sldLayoutId id="2147483695" r:id="rId14"/>
    <p:sldLayoutId id="2147483696" r:id="rId15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ヒラギノ角ゴ Pro W3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  <a:cs typeface="ヒラギノ角ゴ Pro W3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  <a:cs typeface="ヒラギノ角ゴ Pro W3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  <a:cs typeface="ヒラギノ角ゴ Pro W3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  <a:cs typeface="ヒラギノ角ゴ Pro W3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Calibri" pitchFamily="34" charset="0"/>
          <a:ea typeface="ヒラギノ角ゴ Pro W3" pitchFamily="28" charset="-128"/>
        </a:defRPr>
      </a:lvl9pPr>
    </p:titleStyle>
    <p:bodyStyle>
      <a:lvl1pPr marL="342900" indent="-342900" algn="l" rtl="0" eaLnBrk="0" fontAlgn="base" hangingPunct="0">
        <a:spcBef>
          <a:spcPts val="1800"/>
        </a:spcBef>
        <a:spcAft>
          <a:spcPct val="0"/>
        </a:spcAft>
        <a:buClr>
          <a:srgbClr val="F2D2A8"/>
        </a:buClr>
        <a:buChar char="•"/>
        <a:defRPr sz="2400">
          <a:solidFill>
            <a:schemeClr val="bg1"/>
          </a:solidFill>
          <a:latin typeface="+mn-lt"/>
          <a:ea typeface="+mn-ea"/>
          <a:cs typeface="ヒラギノ角ゴ Pro W3"/>
        </a:defRPr>
      </a:lvl1pPr>
      <a:lvl2pPr marL="800100" indent="-342900" algn="l" rtl="0" eaLnBrk="0" fontAlgn="base" hangingPunct="0">
        <a:spcBef>
          <a:spcPts val="600"/>
        </a:spcBef>
        <a:spcAft>
          <a:spcPct val="0"/>
        </a:spcAft>
        <a:buChar char="–"/>
        <a:defRPr sz="2000">
          <a:solidFill>
            <a:schemeClr val="bg1"/>
          </a:solidFill>
          <a:latin typeface="+mn-lt"/>
          <a:ea typeface="+mn-ea"/>
          <a:cs typeface="ヒラギノ角ゴ Pro W3"/>
        </a:defRPr>
      </a:lvl2pPr>
      <a:lvl3pPr marL="1143000" indent="-228600" algn="l" rtl="0" eaLnBrk="0" fontAlgn="base" hangingPunct="0">
        <a:spcBef>
          <a:spcPts val="300"/>
        </a:spcBef>
        <a:spcAft>
          <a:spcPct val="0"/>
        </a:spcAft>
        <a:buChar char="•"/>
        <a:defRPr>
          <a:solidFill>
            <a:schemeClr val="bg1"/>
          </a:solidFill>
          <a:latin typeface="+mn-lt"/>
          <a:ea typeface="+mn-ea"/>
          <a:cs typeface="ヒラギノ角ゴ Pro W3"/>
        </a:defRPr>
      </a:lvl3pPr>
      <a:lvl4pPr marL="1485900" indent="-22860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>
          <a:solidFill>
            <a:schemeClr val="bg1"/>
          </a:solidFill>
          <a:latin typeface="+mn-lt"/>
          <a:ea typeface="+mn-ea"/>
          <a:cs typeface="ヒラギノ角ゴ Pro W3"/>
        </a:defRPr>
      </a:lvl4pPr>
      <a:lvl5pPr marL="1828800" indent="-228600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>
          <a:solidFill>
            <a:schemeClr val="bg1"/>
          </a:solidFill>
          <a:latin typeface="+mn-lt"/>
          <a:ea typeface="+mn-ea"/>
          <a:cs typeface="ヒラギノ角ゴ Pro W3"/>
        </a:defRPr>
      </a:lvl5pPr>
      <a:lvl6pPr marL="2286000" indent="-228600" algn="l" rtl="0" fontAlgn="base">
        <a:spcBef>
          <a:spcPct val="0"/>
        </a:spcBef>
        <a:spcAft>
          <a:spcPct val="0"/>
        </a:spcAft>
        <a:buFont typeface="Arial" charset="0"/>
        <a:buChar char="•"/>
        <a:defRPr>
          <a:solidFill>
            <a:schemeClr val="bg1"/>
          </a:solidFill>
          <a:latin typeface="+mn-lt"/>
          <a:ea typeface="+mn-ea"/>
        </a:defRPr>
      </a:lvl6pPr>
      <a:lvl7pPr marL="2743200" indent="-228600" algn="l" rtl="0" fontAlgn="base">
        <a:spcBef>
          <a:spcPct val="0"/>
        </a:spcBef>
        <a:spcAft>
          <a:spcPct val="0"/>
        </a:spcAft>
        <a:buFont typeface="Arial" charset="0"/>
        <a:buChar char="•"/>
        <a:defRPr>
          <a:solidFill>
            <a:schemeClr val="bg1"/>
          </a:solidFill>
          <a:latin typeface="+mn-lt"/>
          <a:ea typeface="+mn-ea"/>
        </a:defRPr>
      </a:lvl7pPr>
      <a:lvl8pPr marL="3200400" indent="-228600" algn="l" rtl="0" fontAlgn="base">
        <a:spcBef>
          <a:spcPct val="0"/>
        </a:spcBef>
        <a:spcAft>
          <a:spcPct val="0"/>
        </a:spcAft>
        <a:buFont typeface="Arial" charset="0"/>
        <a:buChar char="•"/>
        <a:defRPr>
          <a:solidFill>
            <a:schemeClr val="bg1"/>
          </a:solidFill>
          <a:latin typeface="+mn-lt"/>
          <a:ea typeface="+mn-ea"/>
        </a:defRPr>
      </a:lvl8pPr>
      <a:lvl9pPr marL="3657600" indent="-228600" algn="l" rtl="0" fontAlgn="base">
        <a:spcBef>
          <a:spcPct val="0"/>
        </a:spcBef>
        <a:spcAft>
          <a:spcPct val="0"/>
        </a:spcAft>
        <a:buFont typeface="Arial" charset="0"/>
        <a:buChar char="•"/>
        <a:defRPr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" y="2130425"/>
            <a:ext cx="8763000" cy="1470025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rgbClr val="FFD815"/>
                </a:solidFill>
              </a:rPr>
              <a:t>30-Day Outcomes Following Implantation of a Repositionable </a:t>
            </a:r>
            <a:r>
              <a:rPr lang="en-US" sz="3600" dirty="0" smtClean="0">
                <a:solidFill>
                  <a:srgbClr val="FFD815"/>
                </a:solidFill>
              </a:rPr>
              <a:t>Self-Expanding </a:t>
            </a:r>
            <a:r>
              <a:rPr lang="en-US" sz="3600" dirty="0">
                <a:solidFill>
                  <a:srgbClr val="FFD815"/>
                </a:solidFill>
              </a:rPr>
              <a:t>Aortic </a:t>
            </a:r>
            <a:r>
              <a:rPr lang="en-US" sz="3600" dirty="0" err="1">
                <a:solidFill>
                  <a:srgbClr val="FFD815"/>
                </a:solidFill>
              </a:rPr>
              <a:t>Bioprosthesis</a:t>
            </a:r>
            <a:r>
              <a:rPr lang="en-US" sz="3600" dirty="0">
                <a:solidFill>
                  <a:srgbClr val="FFD815"/>
                </a:solidFill>
              </a:rPr>
              <a:t>: </a:t>
            </a:r>
            <a:r>
              <a:rPr lang="en-US" sz="3600" dirty="0" smtClean="0">
                <a:solidFill>
                  <a:srgbClr val="FFD815"/>
                </a:solidFill>
              </a:rPr>
              <a:t/>
            </a:r>
            <a:br>
              <a:rPr lang="en-US" sz="3600" dirty="0" smtClean="0">
                <a:solidFill>
                  <a:srgbClr val="FFD815"/>
                </a:solidFill>
              </a:rPr>
            </a:br>
            <a:r>
              <a:rPr lang="en-US" sz="2800" dirty="0" smtClean="0">
                <a:solidFill>
                  <a:srgbClr val="FFD815"/>
                </a:solidFill>
              </a:rPr>
              <a:t>First </a:t>
            </a:r>
            <a:r>
              <a:rPr lang="en-US" sz="2800" dirty="0">
                <a:solidFill>
                  <a:srgbClr val="FFD815"/>
                </a:solidFill>
              </a:rPr>
              <a:t>Report From the FORWARD Study </a:t>
            </a:r>
            <a:endParaRPr lang="en-US" sz="3600" b="0" dirty="0">
              <a:solidFill>
                <a:srgbClr val="FFD815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24" y="4114800"/>
            <a:ext cx="7261412" cy="1752600"/>
          </a:xfrm>
        </p:spPr>
        <p:txBody>
          <a:bodyPr>
            <a:noAutofit/>
          </a:bodyPr>
          <a:lstStyle/>
          <a:p>
            <a:r>
              <a:rPr lang="en-US" dirty="0"/>
              <a:t>Stephan </a:t>
            </a:r>
            <a:r>
              <a:rPr lang="en-US" dirty="0" smtClean="0"/>
              <a:t>Windeck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Department of Cardiology</a:t>
            </a:r>
            <a:br>
              <a:rPr lang="en-US" dirty="0"/>
            </a:br>
            <a:r>
              <a:rPr lang="en-US" dirty="0"/>
              <a:t>Bern University Hospital - INSELSPITAL</a:t>
            </a:r>
            <a:br>
              <a:rPr lang="en-US" dirty="0"/>
            </a:br>
            <a:r>
              <a:rPr lang="en-US" dirty="0" smtClean="0"/>
              <a:t>Bern</a:t>
            </a:r>
            <a:r>
              <a:rPr lang="en-US" dirty="0"/>
              <a:t>, </a:t>
            </a:r>
            <a:r>
              <a:rPr lang="en-US" dirty="0" smtClean="0"/>
              <a:t>Switzerland</a:t>
            </a:r>
          </a:p>
          <a:p>
            <a:r>
              <a:rPr lang="en-US" dirty="0" smtClean="0"/>
              <a:t>On behalf of the FORWARD Study Investigato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5875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200" y="15922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Procedural Data</a:t>
            </a:r>
            <a:endParaRPr lang="en-US" sz="3600" dirty="0">
              <a:solidFill>
                <a:srgbClr val="FFD815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1885271"/>
              </p:ext>
            </p:extLst>
          </p:nvPr>
        </p:nvGraphicFramePr>
        <p:xfrm>
          <a:off x="152400" y="838200"/>
          <a:ext cx="8458200" cy="4038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37827"/>
                <a:gridCol w="1620373"/>
              </a:tblGrid>
              <a:tr h="59396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racteristic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- %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EVOLUT R</a:t>
                      </a:r>
                      <a:b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=30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7780" marR="0">
                        <a:spcBef>
                          <a:spcPts val="205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General Anesthesia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37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9923">
                <a:tc>
                  <a:txBody>
                    <a:bodyPr/>
                    <a:lstStyle/>
                    <a:p>
                      <a:pPr marL="17780" marR="0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liofemoral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ccess</a:t>
                      </a:r>
                      <a:r>
                        <a:rPr lang="en-US" sz="1800" spc="-35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ut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98.3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7780" marR="0">
                        <a:spcBef>
                          <a:spcPts val="155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mplanted Valve</a:t>
                      </a:r>
                      <a:r>
                        <a:rPr lang="en-US" sz="1800" spc="-65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iz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27635" marR="0">
                        <a:spcBef>
                          <a:spcPts val="13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23mm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3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27635" marR="0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26mm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0.5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27635" marR="0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29mm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2.5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7780" marR="0">
                        <a:spcBef>
                          <a:spcPts val="165"/>
                        </a:spcBef>
                        <a:spcAft>
                          <a:spcPts val="0"/>
                        </a:spcAft>
                      </a:pPr>
                      <a:r>
                        <a:rPr lang="en-US" sz="1800" kern="12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</a:rPr>
                        <a:t>Pre-</a:t>
                      </a:r>
                      <a:r>
                        <a:rPr lang="en-US" sz="1800" kern="120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</a:rPr>
                        <a:t>TAVR Balloon Dilation Performed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9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7780" marR="0">
                        <a:spcBef>
                          <a:spcPts val="16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st-Implant</a:t>
                      </a:r>
                      <a:r>
                        <a:rPr lang="en-US" sz="1800" spc="-55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latation Performed 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35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.4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7780" marR="0">
                        <a:spcBef>
                          <a:spcPts val="155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nVeo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nLine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Sheath</a:t>
                      </a:r>
                      <a:r>
                        <a:rPr lang="en-US" sz="1800" spc="-55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used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3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2.6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9412">
                <a:tc>
                  <a:txBody>
                    <a:bodyPr/>
                    <a:lstStyle/>
                    <a:p>
                      <a:pPr marL="17780" marR="0">
                        <a:spcBef>
                          <a:spcPts val="165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ultiple Valve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≥ 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800" spc="-85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mplanted)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spcBef>
                          <a:spcPts val="14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.3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1586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9372600" y="1981200"/>
            <a:ext cx="914400" cy="914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79761838"/>
              </p:ext>
            </p:extLst>
          </p:nvPr>
        </p:nvGraphicFramePr>
        <p:xfrm>
          <a:off x="467833" y="1066800"/>
          <a:ext cx="8142767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9954849"/>
              </p:ext>
            </p:extLst>
          </p:nvPr>
        </p:nvGraphicFramePr>
        <p:xfrm>
          <a:off x="1143002" y="5824868"/>
          <a:ext cx="746759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0090"/>
                <a:gridCol w="1090090"/>
                <a:gridCol w="1090090"/>
                <a:gridCol w="1090090"/>
                <a:gridCol w="1090090"/>
                <a:gridCol w="1483748"/>
                <a:gridCol w="5334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0" dirty="0" smtClean="0"/>
                        <a:t>300</a:t>
                      </a:r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 smtClean="0"/>
                        <a:t>264</a:t>
                      </a:r>
                      <a:endParaRPr lang="en-US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-67336" y="5824134"/>
            <a:ext cx="167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o. at risk: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20000" y="3810000"/>
            <a:ext cx="137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2.0%</a:t>
            </a: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6200" y="15922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30-Day All-Cause Mortality</a:t>
            </a:r>
            <a:endParaRPr lang="en-US" sz="3600" dirty="0">
              <a:solidFill>
                <a:srgbClr val="FFD815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1219200"/>
            <a:ext cx="3584575" cy="220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010971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733800" y="4876800"/>
            <a:ext cx="4419600" cy="1200329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Implant depth as assessed by aortography and reported by the sites: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NCS: 4.8 ± 2.7mm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LCS:  </a:t>
            </a:r>
            <a:r>
              <a:rPr lang="en-US" dirty="0">
                <a:solidFill>
                  <a:schemeClr val="bg1"/>
                </a:solidFill>
              </a:rPr>
              <a:t>6.0 ± </a:t>
            </a:r>
            <a:r>
              <a:rPr lang="en-US" dirty="0" smtClean="0">
                <a:solidFill>
                  <a:schemeClr val="bg1"/>
                </a:solidFill>
              </a:rPr>
              <a:t>2.8mm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95400" y="6427113"/>
            <a:ext cx="5562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aseline="30000" dirty="0" smtClean="0">
                <a:solidFill>
                  <a:schemeClr val="bg1"/>
                </a:solidFill>
              </a:rPr>
              <a:t>1</a:t>
            </a:r>
            <a:r>
              <a:rPr lang="en-US" sz="1100" dirty="0" smtClean="0">
                <a:solidFill>
                  <a:schemeClr val="bg1"/>
                </a:solidFill>
              </a:rPr>
              <a:t>Patient Prosthesis Mismatch: Defined as AVA &lt;0.85cm</a:t>
            </a:r>
            <a:r>
              <a:rPr lang="en-US" sz="1100" baseline="30000" dirty="0" smtClean="0">
                <a:solidFill>
                  <a:schemeClr val="bg1"/>
                </a:solidFill>
              </a:rPr>
              <a:t>2</a:t>
            </a:r>
            <a:r>
              <a:rPr lang="en-US" sz="1100" dirty="0" smtClean="0">
                <a:solidFill>
                  <a:schemeClr val="bg1"/>
                </a:solidFill>
              </a:rPr>
              <a:t>/m</a:t>
            </a:r>
            <a:r>
              <a:rPr lang="en-US" sz="1100" baseline="30000" dirty="0" smtClean="0">
                <a:solidFill>
                  <a:schemeClr val="bg1"/>
                </a:solidFill>
              </a:rPr>
              <a:t>2</a:t>
            </a:r>
            <a:r>
              <a:rPr lang="en-US" sz="1100" dirty="0" smtClean="0">
                <a:solidFill>
                  <a:schemeClr val="bg1"/>
                </a:solidFill>
              </a:rPr>
              <a:t> for subjects with BMI &lt;30kg/cm</a:t>
            </a:r>
            <a:r>
              <a:rPr lang="en-US" sz="1100" baseline="30000" dirty="0" smtClean="0">
                <a:solidFill>
                  <a:schemeClr val="bg1"/>
                </a:solidFill>
              </a:rPr>
              <a:t>2</a:t>
            </a:r>
            <a:r>
              <a:rPr lang="en-US" sz="1100" dirty="0" smtClean="0">
                <a:solidFill>
                  <a:schemeClr val="bg1"/>
                </a:solidFill>
              </a:rPr>
              <a:t>, or &lt;0.7cm</a:t>
            </a:r>
            <a:r>
              <a:rPr lang="en-US" sz="1100" baseline="30000" dirty="0" smtClean="0">
                <a:solidFill>
                  <a:schemeClr val="bg1"/>
                </a:solidFill>
              </a:rPr>
              <a:t>2</a:t>
            </a:r>
            <a:r>
              <a:rPr lang="en-US" sz="1100" dirty="0" smtClean="0">
                <a:solidFill>
                  <a:schemeClr val="bg1"/>
                </a:solidFill>
              </a:rPr>
              <a:t>/m</a:t>
            </a:r>
            <a:r>
              <a:rPr lang="en-US" sz="1100" baseline="30000" dirty="0" smtClean="0">
                <a:solidFill>
                  <a:schemeClr val="bg1"/>
                </a:solidFill>
              </a:rPr>
              <a:t>2</a:t>
            </a:r>
            <a:r>
              <a:rPr lang="en-US" sz="1100" dirty="0" smtClean="0">
                <a:solidFill>
                  <a:schemeClr val="bg1"/>
                </a:solidFill>
              </a:rPr>
              <a:t> for subjects with BMI ≥ 30kg/cm</a:t>
            </a:r>
            <a:r>
              <a:rPr lang="en-US" sz="1100" baseline="30000" dirty="0" smtClean="0">
                <a:solidFill>
                  <a:schemeClr val="bg1"/>
                </a:solidFill>
              </a:rPr>
              <a:t>2</a:t>
            </a:r>
            <a:endParaRPr lang="en-US" sz="1100" baseline="30000" dirty="0">
              <a:solidFill>
                <a:schemeClr val="bg1"/>
              </a:solidFill>
            </a:endParaRPr>
          </a:p>
        </p:txBody>
      </p:sp>
      <p:cxnSp>
        <p:nvCxnSpPr>
          <p:cNvPr id="21" name="Straight Arrow Connector 20"/>
          <p:cNvCxnSpPr/>
          <p:nvPr/>
        </p:nvCxnSpPr>
        <p:spPr>
          <a:xfrm flipH="1">
            <a:off x="2286000" y="5314950"/>
            <a:ext cx="1390650" cy="95250"/>
          </a:xfrm>
          <a:prstGeom prst="straightConnector1">
            <a:avLst/>
          </a:prstGeom>
          <a:ln w="57150">
            <a:solidFill>
              <a:srgbClr val="FFD81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76200" y="15922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Procedural Data</a:t>
            </a:r>
            <a:endParaRPr lang="en-US" sz="3600" dirty="0">
              <a:solidFill>
                <a:srgbClr val="FFD815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63" y="838200"/>
            <a:ext cx="7310437" cy="32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9914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6225" y="3200400"/>
            <a:ext cx="3027499" cy="3200400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468630" y="5314950"/>
            <a:ext cx="1645920" cy="0"/>
          </a:xfrm>
          <a:prstGeom prst="line">
            <a:avLst/>
          </a:prstGeom>
          <a:ln w="38100" cap="sq">
            <a:solidFill>
              <a:srgbClr val="FFD815"/>
            </a:solidFill>
            <a:round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5898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VARC-II Safety Endpoints at 30 Days</a:t>
            </a:r>
            <a:endParaRPr lang="en-US" sz="3600" dirty="0">
              <a:solidFill>
                <a:srgbClr val="FFD815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462088"/>
            <a:ext cx="8431213" cy="393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310518" y="488846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*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5800" y="5846020"/>
            <a:ext cx="2940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* Requiring repeat procedur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585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Additional 30-Day Safety Endpoints </a:t>
            </a:r>
            <a:endParaRPr lang="en-US" sz="3600" dirty="0">
              <a:solidFill>
                <a:srgbClr val="FFD815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2772738"/>
              </p:ext>
            </p:extLst>
          </p:nvPr>
        </p:nvGraphicFramePr>
        <p:xfrm>
          <a:off x="304800" y="1208173"/>
          <a:ext cx="8382000" cy="34400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81553"/>
                <a:gridCol w="1600447"/>
              </a:tblGrid>
              <a:tr h="734436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vent, Kaplan-Meier Rate (%)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Evolut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R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N=30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1588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Myocardial Infarction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0.3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ew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cemaker</a:t>
                      </a:r>
                      <a:r>
                        <a:rPr lang="en-US" sz="1800" baseline="30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endParaRPr lang="en-US" sz="1800" baseline="300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5.4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rosthetic Valve Thrombosi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rosthetic Valve Endocarditi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1588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alve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mbolization* 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1.0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1588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alve Migration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8651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itral Valve Apparatus Damag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9206" marR="9206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228600" y="4724400"/>
            <a:ext cx="80772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aseline="30000" dirty="0">
                <a:solidFill>
                  <a:schemeClr val="bg1"/>
                </a:solidFill>
                <a:cs typeface="Arial" panose="020B0604020202020204" pitchFamily="34" charset="0"/>
              </a:rPr>
              <a:t>1</a:t>
            </a:r>
            <a:r>
              <a:rPr lang="en-US" sz="1400" dirty="0" smtClean="0">
                <a:solidFill>
                  <a:schemeClr val="bg1"/>
                </a:solidFill>
                <a:cs typeface="Arial" panose="020B0604020202020204" pitchFamily="34" charset="0"/>
              </a:rPr>
              <a:t>Subjects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 with pacemaker or ICD at baseline are </a:t>
            </a:r>
            <a:r>
              <a:rPr lang="en-US" sz="1400" dirty="0" smtClean="0">
                <a:solidFill>
                  <a:schemeClr val="bg1"/>
                </a:solidFill>
                <a:cs typeface="Arial" panose="020B0604020202020204" pitchFamily="34" charset="0"/>
              </a:rPr>
              <a:t>included in the denominator.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</a:b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1000" y="6096000"/>
            <a:ext cx="3316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*per VARC II; all 3 were pop-outs 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8574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950" y="-14287"/>
            <a:ext cx="8928100" cy="928687"/>
          </a:xfrm>
        </p:spPr>
        <p:txBody>
          <a:bodyPr/>
          <a:lstStyle/>
          <a:p>
            <a:r>
              <a:rPr lang="en-US" sz="3600" dirty="0" err="1" smtClean="0">
                <a:solidFill>
                  <a:srgbClr val="FFD815"/>
                </a:solidFill>
              </a:rPr>
              <a:t>Resheath</a:t>
            </a:r>
            <a:r>
              <a:rPr lang="en-US" sz="3600" dirty="0" smtClean="0">
                <a:solidFill>
                  <a:srgbClr val="FFD815"/>
                </a:solidFill>
              </a:rPr>
              <a:t> and Recapture</a:t>
            </a:r>
            <a:endParaRPr lang="en-US" sz="2400" dirty="0">
              <a:solidFill>
                <a:srgbClr val="FFD815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2000" y="4876800"/>
            <a:ext cx="7620000" cy="92333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solidFill>
                  <a:srgbClr val="FFD815"/>
                </a:solidFill>
              </a:rPr>
              <a:t>Patients </a:t>
            </a:r>
            <a:r>
              <a:rPr lang="en-US" i="1" dirty="0">
                <a:solidFill>
                  <a:srgbClr val="FFD815"/>
                </a:solidFill>
              </a:rPr>
              <a:t>who underwent </a:t>
            </a:r>
            <a:r>
              <a:rPr lang="en-US" i="1" dirty="0" err="1">
                <a:solidFill>
                  <a:srgbClr val="FFD815"/>
                </a:solidFill>
              </a:rPr>
              <a:t>resheath</a:t>
            </a:r>
            <a:r>
              <a:rPr lang="en-US" i="1" dirty="0">
                <a:solidFill>
                  <a:srgbClr val="FFD815"/>
                </a:solidFill>
              </a:rPr>
              <a:t>/recapture </a:t>
            </a:r>
            <a:r>
              <a:rPr lang="en-US" i="1" dirty="0" smtClean="0">
                <a:solidFill>
                  <a:srgbClr val="FFD815"/>
                </a:solidFill>
              </a:rPr>
              <a:t>had a similar mortality rate (1.3% vs. 2.3%) and pacemaker implantation rate (13.3% vs. 16.2%) as those who did not undergo </a:t>
            </a:r>
            <a:r>
              <a:rPr lang="en-US" i="1" dirty="0" err="1" smtClean="0">
                <a:solidFill>
                  <a:srgbClr val="FFD815"/>
                </a:solidFill>
              </a:rPr>
              <a:t>resheath</a:t>
            </a:r>
            <a:r>
              <a:rPr lang="en-US" i="1" dirty="0" smtClean="0">
                <a:solidFill>
                  <a:srgbClr val="FFD815"/>
                </a:solidFill>
              </a:rPr>
              <a:t>/recapture.</a:t>
            </a:r>
            <a:endParaRPr lang="en-US" i="1" dirty="0">
              <a:solidFill>
                <a:srgbClr val="FFD815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" y="1143000"/>
            <a:ext cx="8918575" cy="3687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7307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8600" y="1524000"/>
            <a:ext cx="4114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Valve Performanc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81600" y="1524000"/>
            <a:ext cx="396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 smtClean="0">
                <a:solidFill>
                  <a:schemeClr val="bg1"/>
                </a:solidFill>
              </a:rPr>
              <a:t>Paravalvular</a:t>
            </a:r>
            <a:r>
              <a:rPr lang="en-US" b="1" dirty="0" smtClean="0">
                <a:solidFill>
                  <a:schemeClr val="bg1"/>
                </a:solidFill>
              </a:rPr>
              <a:t> Regurgitation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0"/>
            <a:ext cx="4555825" cy="312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4800" y="5833646"/>
            <a:ext cx="601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*Echocardiographic Core Lab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76200" y="-12653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Hemodynamic Outcomes*</a:t>
            </a:r>
            <a:endParaRPr lang="en-US" sz="3600" dirty="0">
              <a:solidFill>
                <a:srgbClr val="FFD815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2057400"/>
            <a:ext cx="3176587" cy="3124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49461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76200" y="-12653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New York Heart Association Functional Class</a:t>
            </a:r>
            <a:endParaRPr lang="en-US" sz="3600" dirty="0">
              <a:solidFill>
                <a:srgbClr val="FFD815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066800"/>
            <a:ext cx="5181600" cy="5108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371600"/>
            <a:ext cx="4572000" cy="418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82234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950912"/>
            <a:ext cx="8458200" cy="5297488"/>
          </a:xfrm>
        </p:spPr>
        <p:txBody>
          <a:bodyPr/>
          <a:lstStyle/>
          <a:p>
            <a:pPr>
              <a:buClr>
                <a:srgbClr val="FFD815"/>
              </a:buClr>
            </a:pPr>
            <a:r>
              <a:rPr lang="en-US" sz="2800" dirty="0" smtClean="0"/>
              <a:t>Interim results at 30 days in this real-world, global experience with </a:t>
            </a:r>
            <a:r>
              <a:rPr lang="en-US" sz="2800" dirty="0" err="1" smtClean="0"/>
              <a:t>Evolut</a:t>
            </a:r>
            <a:r>
              <a:rPr lang="en-US" sz="2800" dirty="0" smtClean="0"/>
              <a:t> R demonstrate:</a:t>
            </a:r>
            <a:endParaRPr lang="en-US" sz="2800" b="0" dirty="0" smtClean="0"/>
          </a:p>
          <a:p>
            <a:pPr lvl="1">
              <a:buClr>
                <a:srgbClr val="FFD815"/>
              </a:buClr>
            </a:pPr>
            <a:r>
              <a:rPr lang="en-US" sz="2800" dirty="0"/>
              <a:t>L</a:t>
            </a:r>
            <a:r>
              <a:rPr lang="en-US" sz="2800" dirty="0" smtClean="0"/>
              <a:t>ow incidence of all-cause </a:t>
            </a:r>
            <a:r>
              <a:rPr lang="en-US" sz="2800" dirty="0"/>
              <a:t>mortality, </a:t>
            </a:r>
            <a:r>
              <a:rPr lang="en-US" sz="2800" dirty="0" smtClean="0"/>
              <a:t>stroke and major vascular complications </a:t>
            </a:r>
          </a:p>
          <a:p>
            <a:pPr lvl="1">
              <a:buClr>
                <a:srgbClr val="FFD815"/>
              </a:buClr>
            </a:pPr>
            <a:r>
              <a:rPr lang="en-US" sz="2800" dirty="0" smtClean="0"/>
              <a:t>Reduced pacemaker rate post TAVR</a:t>
            </a:r>
          </a:p>
          <a:p>
            <a:pPr lvl="1">
              <a:buClr>
                <a:srgbClr val="FFD815"/>
              </a:buClr>
            </a:pPr>
            <a:r>
              <a:rPr lang="en-US" sz="2800" dirty="0" smtClean="0"/>
              <a:t>Excellent hemodynamic results and low rate of  moderate/severe PVR</a:t>
            </a:r>
          </a:p>
          <a:p>
            <a:pPr lvl="1">
              <a:buClr>
                <a:srgbClr val="FFD815"/>
              </a:buClr>
            </a:pPr>
            <a:r>
              <a:rPr lang="en-US" sz="2800" dirty="0" err="1" smtClean="0"/>
              <a:t>Resheath</a:t>
            </a:r>
            <a:r>
              <a:rPr lang="en-US" sz="2800" dirty="0" smtClean="0"/>
              <a:t>/recapture was used safely in 25% of cases</a:t>
            </a:r>
          </a:p>
          <a:p>
            <a:pPr>
              <a:buClr>
                <a:srgbClr val="FFD815"/>
              </a:buClr>
            </a:pPr>
            <a:r>
              <a:rPr lang="en-US" sz="2800" dirty="0" smtClean="0"/>
              <a:t>Primary endpoint for 1000 patients at </a:t>
            </a:r>
            <a:r>
              <a:rPr lang="en-US" sz="2800" dirty="0" err="1" smtClean="0"/>
              <a:t>EuroPCR</a:t>
            </a:r>
            <a:r>
              <a:rPr lang="en-US" sz="2800" dirty="0" smtClean="0"/>
              <a:t> 2017</a:t>
            </a:r>
            <a:endParaRPr lang="en-US" sz="28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950" y="-9525"/>
            <a:ext cx="8928100" cy="928687"/>
          </a:xfrm>
        </p:spPr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484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han Windecker receives research grants to the institution from Abbott, </a:t>
            </a:r>
            <a:r>
              <a:rPr lang="en-US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otronik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Boston Scientific, Edwards, Medtronic, and St. Jud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smtClean="0"/>
              <a:t>Disclosure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92134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174621" y="1143000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olut R CE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146296" y="1143001"/>
            <a:ext cx="4885267" cy="1309509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 Mark Study (Safety and performance)</a:t>
            </a:r>
            <a:b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=60; single arm, 26 mm and 29 mm valves</a:t>
            </a:r>
          </a:p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mary Safety EP = Death &amp; any stroke at 30 day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167464" y="2551839"/>
            <a:ext cx="4842931" cy="129632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 IDE Study (Safety and efficacy)</a:t>
            </a:r>
            <a:b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=241; single arm, 23 mm, 26 mm and 29 mm valves</a:t>
            </a:r>
          </a:p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mary Safety EP = Death &amp; disabling stroke at 30 days</a:t>
            </a:r>
            <a:b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llow-up through 5 years </a:t>
            </a: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146296" y="3947488"/>
            <a:ext cx="4885267" cy="1294545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-Comers Trial (Safety)</a:t>
            </a:r>
            <a:b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=1000; single arm, 23 mm, 26 mm and 29 mm valves</a:t>
            </a:r>
          </a:p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mary EP = Death at 30 days </a:t>
            </a:r>
            <a:b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llow-up through 3 years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146296" y="5341363"/>
            <a:ext cx="4885267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 IDE Addendum (Safety and efficacy)</a:t>
            </a:r>
            <a:b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=60</a:t>
            </a: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; single arm, 34 mm valve</a:t>
            </a:r>
          </a:p>
          <a:p>
            <a:pPr algn="ctr"/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mary </a:t>
            </a: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fety EP </a:t>
            </a: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= </a:t>
            </a: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ath &amp; </a:t>
            </a: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abling stroke at 30 days</a:t>
            </a:r>
            <a:b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llow-up through 5 </a:t>
            </a: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ars </a:t>
            </a: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74621" y="2528897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olut R US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174621" y="5300691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olut </a:t>
            </a:r>
            <a:r>
              <a:rPr lang="en-US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 34mm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174621" y="3914795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olut R FORWARD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7356473" y="1143000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al 2-Year Follow-up</a:t>
            </a:r>
          </a:p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T.16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7356473" y="2528897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-Year </a:t>
            </a:r>
            <a:b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llow-up</a:t>
            </a:r>
            <a:b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T.16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7356473" y="5300691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itial Results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TCT.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7356473" y="3914795"/>
            <a:ext cx="1600202" cy="1309511"/>
          </a:xfrm>
          <a:prstGeom prst="roundRect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 smtClean="0">
                <a:solidFill>
                  <a:srgbClr val="FFD81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im Results</a:t>
            </a:r>
          </a:p>
          <a:p>
            <a:pPr algn="ctr"/>
            <a:r>
              <a:rPr lang="en-US" i="1" dirty="0" smtClean="0">
                <a:solidFill>
                  <a:srgbClr val="FFD81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T.16</a:t>
            </a:r>
            <a:endParaRPr lang="en-US" i="1" dirty="0">
              <a:solidFill>
                <a:srgbClr val="FFD81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err="1" smtClean="0"/>
              <a:t>Evolut</a:t>
            </a:r>
            <a:r>
              <a:rPr lang="en-US" sz="3600" dirty="0" smtClean="0"/>
              <a:t> R Clinical Program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4712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12" y="2057400"/>
            <a:ext cx="8134350" cy="310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189963" y="5045098"/>
            <a:ext cx="45767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0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Transcatheter</a:t>
            </a: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 Valve</a:t>
            </a:r>
          </a:p>
          <a:p>
            <a:pPr algn="ctr">
              <a:defRPr/>
            </a:pPr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Supra-annular </a:t>
            </a:r>
            <a:r>
              <a:rPr lang="en-US" sz="1600" dirty="0" smtClean="0">
                <a:solidFill>
                  <a:srgbClr val="FFFFFF"/>
                </a:solidFill>
                <a:cs typeface="Arial" panose="020B0604020202020204" pitchFamily="34" charset="0"/>
              </a:rPr>
              <a:t>design, optimized </a:t>
            </a:r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seal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98775" y="1844459"/>
            <a:ext cx="4503737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Catheter Delivery System</a:t>
            </a:r>
          </a:p>
          <a:p>
            <a:pPr algn="ctr">
              <a:defRPr/>
            </a:pPr>
            <a:r>
              <a:rPr lang="en-US" sz="1600" dirty="0">
                <a:solidFill>
                  <a:srgbClr val="FFFFFF"/>
                </a:solidFill>
                <a:cs typeface="Arial" panose="020B0604020202020204" pitchFamily="34" charset="0"/>
              </a:rPr>
              <a:t>14Fr-equivalent profi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19762" y="3549120"/>
            <a:ext cx="2246313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oading System</a:t>
            </a:r>
            <a:endParaRPr lang="en-US" sz="1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5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63" t="43436" r="39075" b="29761"/>
          <a:stretch>
            <a:fillRect/>
          </a:stretch>
        </p:blipFill>
        <p:spPr bwMode="auto">
          <a:xfrm>
            <a:off x="3525837" y="3100387"/>
            <a:ext cx="2533650" cy="106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179444" y="2558534"/>
            <a:ext cx="251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nline Sheat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772400" y="2558534"/>
            <a:ext cx="137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Capsu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err="1" smtClean="0"/>
              <a:t>Evolut</a:t>
            </a:r>
            <a:r>
              <a:rPr lang="en-US" sz="3600" dirty="0" smtClean="0"/>
              <a:t> R System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1942648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WARD is a multicenter, prospective, single-arm, observational post-market study to evaluate safety and performance of the </a:t>
            </a:r>
            <a:r>
              <a:rPr lang="en-US" dirty="0" err="1"/>
              <a:t>Evolut</a:t>
            </a:r>
            <a:r>
              <a:rPr lang="en-US" dirty="0"/>
              <a:t> R system in a routine hospital setting</a:t>
            </a:r>
            <a:r>
              <a:rPr lang="en-US" dirty="0" smtClean="0"/>
              <a:t>.</a:t>
            </a:r>
            <a:endParaRPr lang="en-US" b="1" dirty="0" smtClean="0">
              <a:solidFill>
                <a:srgbClr val="FFD815"/>
              </a:solidFill>
            </a:endParaRPr>
          </a:p>
          <a:p>
            <a:pPr lvl="1"/>
            <a:r>
              <a:rPr lang="en-US" b="1" dirty="0" smtClean="0">
                <a:solidFill>
                  <a:srgbClr val="FFD815"/>
                </a:solidFill>
              </a:rPr>
              <a:t>Objective: </a:t>
            </a:r>
            <a:r>
              <a:rPr lang="en-US" dirty="0" smtClean="0"/>
              <a:t>To </a:t>
            </a:r>
            <a:r>
              <a:rPr lang="en-US" dirty="0"/>
              <a:t>document the clinical and device performance outcomes of the </a:t>
            </a:r>
            <a:r>
              <a:rPr lang="en-US" dirty="0" err="1"/>
              <a:t>Evolut</a:t>
            </a:r>
            <a:r>
              <a:rPr lang="en-US" dirty="0"/>
              <a:t> R system used in routine hospital </a:t>
            </a:r>
            <a:r>
              <a:rPr lang="en-US" dirty="0" smtClean="0"/>
              <a:t>practice</a:t>
            </a:r>
          </a:p>
          <a:p>
            <a:pPr lvl="1"/>
            <a:r>
              <a:rPr lang="en-US" b="1" dirty="0">
                <a:solidFill>
                  <a:srgbClr val="FFD815"/>
                </a:solidFill>
              </a:rPr>
              <a:t>Primary Endpoint: </a:t>
            </a:r>
            <a:r>
              <a:rPr lang="en-US" dirty="0"/>
              <a:t>The all-cause mortality rate at 30 days </a:t>
            </a:r>
            <a:endParaRPr lang="en-US" dirty="0" smtClean="0"/>
          </a:p>
          <a:p>
            <a:pPr lvl="1"/>
            <a:r>
              <a:rPr lang="en-US" b="1" dirty="0" smtClean="0">
                <a:solidFill>
                  <a:srgbClr val="FFD815"/>
                </a:solidFill>
              </a:rPr>
              <a:t>Sample Size: </a:t>
            </a:r>
            <a:r>
              <a:rPr lang="en-US" dirty="0" smtClean="0"/>
              <a:t>1000 patients</a:t>
            </a:r>
            <a:endParaRPr lang="en-US" b="1" dirty="0" smtClean="0">
              <a:solidFill>
                <a:srgbClr val="FFD815"/>
              </a:solidFill>
            </a:endParaRPr>
          </a:p>
          <a:p>
            <a:pPr lvl="1"/>
            <a:r>
              <a:rPr lang="en-US" b="1" dirty="0" smtClean="0">
                <a:solidFill>
                  <a:srgbClr val="FFD815"/>
                </a:solidFill>
              </a:rPr>
              <a:t>Present Analysis: </a:t>
            </a:r>
            <a:r>
              <a:rPr lang="en-US" dirty="0" smtClean="0"/>
              <a:t>Interim 30-day results in first 300 patients</a:t>
            </a:r>
            <a:endParaRPr lang="en-US" b="0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err="1" smtClean="0"/>
              <a:t>Evolut</a:t>
            </a:r>
            <a:r>
              <a:rPr lang="en-US" sz="3600" dirty="0" smtClean="0"/>
              <a:t> R FORWARD Study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730834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143001"/>
            <a:ext cx="8126413" cy="2514600"/>
          </a:xfrm>
          <a:ln w="28575">
            <a:solidFill>
              <a:srgbClr val="FFD815"/>
            </a:solidFill>
          </a:ln>
        </p:spPr>
        <p:txBody>
          <a:bodyPr/>
          <a:lstStyle/>
          <a:p>
            <a:pPr marL="0" indent="0">
              <a:spcBef>
                <a:spcPts val="1200"/>
              </a:spcBef>
              <a:buNone/>
            </a:pPr>
            <a:r>
              <a:rPr lang="en-US" b="0" dirty="0" smtClean="0"/>
              <a:t>EFFICACY</a:t>
            </a:r>
          </a:p>
          <a:p>
            <a:pPr>
              <a:spcBef>
                <a:spcPts val="1200"/>
              </a:spcBef>
            </a:pPr>
            <a:r>
              <a:rPr lang="en-US" sz="1600" b="0" dirty="0" smtClean="0"/>
              <a:t>Absence </a:t>
            </a:r>
            <a:r>
              <a:rPr lang="en-US" sz="1600" b="0" dirty="0"/>
              <a:t>of procedural </a:t>
            </a:r>
            <a:r>
              <a:rPr lang="en-US" sz="1600" b="0" dirty="0" smtClean="0"/>
              <a:t>mortality</a:t>
            </a:r>
            <a:endParaRPr lang="en-US" sz="1600" b="0" dirty="0"/>
          </a:p>
          <a:p>
            <a:pPr>
              <a:spcBef>
                <a:spcPts val="1200"/>
              </a:spcBef>
            </a:pPr>
            <a:r>
              <a:rPr lang="en-US" sz="1600" b="0" dirty="0" smtClean="0"/>
              <a:t>Correct </a:t>
            </a:r>
            <a:r>
              <a:rPr lang="en-US" sz="1600" b="0" dirty="0"/>
              <a:t>positioning of a </a:t>
            </a:r>
            <a:r>
              <a:rPr lang="en-US" sz="1600" b="1" u="sng" dirty="0"/>
              <a:t>single</a:t>
            </a:r>
            <a:r>
              <a:rPr lang="en-US" sz="1600" b="0" dirty="0"/>
              <a:t> prosthetic heart valve into the proper anatomical </a:t>
            </a:r>
            <a:r>
              <a:rPr lang="en-US" sz="1600" b="0" dirty="0" smtClean="0"/>
              <a:t>location</a:t>
            </a:r>
          </a:p>
          <a:p>
            <a:pPr>
              <a:spcBef>
                <a:spcPts val="1200"/>
              </a:spcBef>
            </a:pPr>
            <a:r>
              <a:rPr lang="en-US" sz="1600" b="0" dirty="0" smtClean="0"/>
              <a:t>Absence </a:t>
            </a:r>
            <a:r>
              <a:rPr lang="en-US" sz="1600" b="0" dirty="0"/>
              <a:t>of </a:t>
            </a:r>
            <a:r>
              <a:rPr lang="en-US" sz="1600" b="1" u="sng" dirty="0"/>
              <a:t>patient-prosthesis </a:t>
            </a:r>
            <a:r>
              <a:rPr lang="en-US" sz="1600" b="1" u="sng" dirty="0" smtClean="0"/>
              <a:t>mismatch</a:t>
            </a:r>
            <a:r>
              <a:rPr lang="en-US" sz="1600" b="0" dirty="0" smtClean="0"/>
              <a:t>, mean </a:t>
            </a:r>
            <a:r>
              <a:rPr lang="en-US" sz="1600" b="0" dirty="0"/>
              <a:t>gradient &lt; 20 mmHg (or peak velocity &lt; 3 m/sec), </a:t>
            </a:r>
            <a:r>
              <a:rPr lang="en-US" sz="1600" b="0" dirty="0" smtClean="0"/>
              <a:t>and no </a:t>
            </a:r>
            <a:r>
              <a:rPr lang="en-US" sz="1600" b="0" dirty="0"/>
              <a:t>moderate or severe prosthetic valve regurgitation. </a:t>
            </a:r>
            <a:endParaRPr lang="en-US" sz="1600" b="0" dirty="0" smtClean="0"/>
          </a:p>
          <a:p>
            <a:pPr>
              <a:spcBef>
                <a:spcPts val="1200"/>
              </a:spcBef>
            </a:pPr>
            <a:r>
              <a:rPr lang="en-US" sz="1600" b="0" dirty="0" smtClean="0"/>
              <a:t>Hemodynamic </a:t>
            </a:r>
            <a:r>
              <a:rPr lang="en-US" sz="1600" b="0" dirty="0"/>
              <a:t>performance at 24 hours to 7 days (discharge) and 1 </a:t>
            </a:r>
            <a:r>
              <a:rPr lang="en-US" sz="1600" b="0" dirty="0" smtClean="0"/>
              <a:t>year</a:t>
            </a:r>
            <a:endParaRPr lang="en-US" sz="1600" b="0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 bwMode="gray">
          <a:xfrm>
            <a:off x="457200" y="3886201"/>
            <a:ext cx="8126413" cy="2285999"/>
          </a:xfrm>
          <a:prstGeom prst="rect">
            <a:avLst/>
          </a:prstGeom>
          <a:noFill/>
          <a:ln w="28575">
            <a:solidFill>
              <a:srgbClr val="FFD815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ts val="1800"/>
              </a:spcBef>
              <a:spcAft>
                <a:spcPct val="0"/>
              </a:spcAft>
              <a:buClr>
                <a:srgbClr val="F2D2A8"/>
              </a:buClr>
              <a:buChar char="•"/>
              <a:defRPr sz="2400">
                <a:solidFill>
                  <a:schemeClr val="bg1"/>
                </a:solidFill>
                <a:latin typeface="+mn-lt"/>
                <a:ea typeface="+mn-ea"/>
                <a:cs typeface="ヒラギノ角ゴ Pro W3"/>
              </a:defRPr>
            </a:lvl1pPr>
            <a:lvl2pPr marL="800100" indent="-342900" algn="l" rtl="0" eaLnBrk="0" fontAlgn="base" hangingPunct="0">
              <a:spcBef>
                <a:spcPts val="600"/>
              </a:spcBef>
              <a:spcAft>
                <a:spcPct val="0"/>
              </a:spcAft>
              <a:buChar char="–"/>
              <a:defRPr sz="2000">
                <a:solidFill>
                  <a:schemeClr val="bg1"/>
                </a:solidFill>
                <a:latin typeface="+mn-lt"/>
                <a:ea typeface="+mn-ea"/>
                <a:cs typeface="ヒラギノ角ゴ Pro W3"/>
              </a:defRPr>
            </a:lvl2pPr>
            <a:lvl3pPr marL="1143000" indent="-228600" algn="l" rtl="0" eaLnBrk="0" fontAlgn="base" hangingPunct="0">
              <a:spcBef>
                <a:spcPts val="300"/>
              </a:spcBef>
              <a:spcAft>
                <a:spcPct val="0"/>
              </a:spcAft>
              <a:buChar char="•"/>
              <a:defRPr>
                <a:solidFill>
                  <a:schemeClr val="bg1"/>
                </a:solidFill>
                <a:latin typeface="+mn-lt"/>
                <a:ea typeface="+mn-ea"/>
                <a:cs typeface="ヒラギノ角ゴ Pro W3"/>
              </a:defRPr>
            </a:lvl3pPr>
            <a:lvl4pPr marL="14859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>
                <a:solidFill>
                  <a:schemeClr val="bg1"/>
                </a:solidFill>
                <a:latin typeface="+mn-lt"/>
                <a:ea typeface="+mn-ea"/>
                <a:cs typeface="ヒラギノ角ゴ Pro W3"/>
              </a:defRPr>
            </a:lvl4pPr>
            <a:lvl5pPr marL="18288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bg1"/>
                </a:solidFill>
                <a:latin typeface="+mn-lt"/>
                <a:ea typeface="+mn-ea"/>
                <a:cs typeface="ヒラギノ角ゴ Pro W3"/>
              </a:defRPr>
            </a:lvl5pPr>
            <a:lvl6pPr marL="2286000" indent="-228600"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bg1"/>
                </a:solidFill>
                <a:latin typeface="+mn-lt"/>
                <a:ea typeface="+mn-ea"/>
              </a:defRPr>
            </a:lvl6pPr>
            <a:lvl7pPr marL="2743200" indent="-228600"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bg1"/>
                </a:solidFill>
                <a:latin typeface="+mn-lt"/>
                <a:ea typeface="+mn-ea"/>
              </a:defRPr>
            </a:lvl7pPr>
            <a:lvl8pPr marL="3200400" indent="-228600"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bg1"/>
                </a:solidFill>
                <a:latin typeface="+mn-lt"/>
                <a:ea typeface="+mn-ea"/>
              </a:defRPr>
            </a:lvl8pPr>
            <a:lvl9pPr marL="3657600" indent="-228600" algn="l" rtl="0" fontAlgn="base"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>
                <a:solidFill>
                  <a:schemeClr val="bg1"/>
                </a:solidFill>
                <a:latin typeface="+mn-lt"/>
                <a:ea typeface="+mn-ea"/>
              </a:defRPr>
            </a:lvl9pPr>
          </a:lstStyle>
          <a:p>
            <a:pPr marL="0" indent="0">
              <a:buFontTx/>
              <a:buNone/>
            </a:pPr>
            <a:r>
              <a:rPr lang="en-US" kern="0" dirty="0" smtClean="0"/>
              <a:t>SAFETY</a:t>
            </a:r>
          </a:p>
          <a:p>
            <a:r>
              <a:rPr lang="en-US" sz="1800" kern="0" dirty="0" smtClean="0"/>
              <a:t>VARC-II Safety Composite Endpoint and Components at 30 days post procedure</a:t>
            </a:r>
          </a:p>
          <a:p>
            <a:pPr lvl="1"/>
            <a:r>
              <a:rPr lang="en-US" sz="1400" kern="0" dirty="0" smtClean="0"/>
              <a:t>All-cause mortality , All stroke , Life-threatening bleeding, Acute kidney injury: stage 2 or 3, Coronary artery obstruction requiring intervention, Major vascular complication, and valve-related dysfunction requiring repeat procedure (</a:t>
            </a:r>
            <a:r>
              <a:rPr lang="en-US" sz="1400" i="1" kern="0" dirty="0" smtClean="0"/>
              <a:t>BAV, TAVI, or SAVR</a:t>
            </a:r>
            <a:r>
              <a:rPr lang="en-US" sz="1400" kern="0" dirty="0" smtClean="0"/>
              <a:t>) </a:t>
            </a:r>
          </a:p>
          <a:p>
            <a:r>
              <a:rPr lang="en-US" sz="1800" kern="0" dirty="0" smtClean="0"/>
              <a:t>Rate of new permanent pacemaker implant at 30 days post procedure </a:t>
            </a:r>
          </a:p>
          <a:p>
            <a:endParaRPr lang="en-US" sz="1800" kern="0" dirty="0"/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smtClean="0"/>
              <a:t>Secondary Endpoint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160339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28599" y="960437"/>
            <a:ext cx="4341695" cy="639762"/>
          </a:xfrm>
        </p:spPr>
        <p:txBody>
          <a:bodyPr/>
          <a:lstStyle/>
          <a:p>
            <a:pPr algn="ctr"/>
            <a:r>
              <a:rPr lang="en-US" dirty="0" smtClean="0"/>
              <a:t>INCLUSION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228600" y="1646237"/>
            <a:ext cx="4114800" cy="4297363"/>
          </a:xfrm>
        </p:spPr>
        <p:txBody>
          <a:bodyPr>
            <a:noAutofit/>
          </a:bodyPr>
          <a:lstStyle/>
          <a:p>
            <a:r>
              <a:rPr lang="en-US" sz="1800" dirty="0" smtClean="0"/>
              <a:t>Symptomatic </a:t>
            </a:r>
            <a:r>
              <a:rPr lang="en-US" sz="1800" dirty="0"/>
              <a:t>native aortic valve stenosis or </a:t>
            </a:r>
            <a:r>
              <a:rPr lang="en-US" sz="1800" dirty="0" smtClean="0"/>
              <a:t>surgical </a:t>
            </a:r>
            <a:r>
              <a:rPr lang="en-US" sz="1800" dirty="0" err="1"/>
              <a:t>bioprosthetic</a:t>
            </a:r>
            <a:r>
              <a:rPr lang="en-US" sz="1800" dirty="0"/>
              <a:t> valve failure </a:t>
            </a:r>
            <a:endParaRPr lang="en-US" sz="1800" dirty="0" smtClean="0"/>
          </a:p>
          <a:p>
            <a:r>
              <a:rPr lang="en-US" sz="1800" dirty="0" smtClean="0"/>
              <a:t>Acceptable </a:t>
            </a:r>
            <a:r>
              <a:rPr lang="en-US" sz="1800" dirty="0"/>
              <a:t>candidate for </a:t>
            </a:r>
            <a:r>
              <a:rPr lang="en-US" sz="1800" b="1" dirty="0"/>
              <a:t>elective </a:t>
            </a:r>
            <a:r>
              <a:rPr lang="en-US" sz="1800" dirty="0"/>
              <a:t>treatment with the </a:t>
            </a:r>
            <a:r>
              <a:rPr lang="en-US" sz="1800" dirty="0" err="1"/>
              <a:t>Evolut</a:t>
            </a:r>
            <a:r>
              <a:rPr lang="en-US" sz="1800" dirty="0"/>
              <a:t> R System </a:t>
            </a:r>
            <a:r>
              <a:rPr lang="en-US" sz="1800" dirty="0" smtClean="0"/>
              <a:t>in </a:t>
            </a:r>
            <a:r>
              <a:rPr lang="en-US" sz="1800" dirty="0"/>
              <a:t>conformity with the local regulatory </a:t>
            </a:r>
            <a:r>
              <a:rPr lang="en-US" sz="1800" dirty="0" smtClean="0"/>
              <a:t>context </a:t>
            </a:r>
            <a:endParaRPr lang="en-US" sz="1800" dirty="0"/>
          </a:p>
          <a:p>
            <a:r>
              <a:rPr lang="en-US" sz="1800" dirty="0" smtClean="0"/>
              <a:t>Age </a:t>
            </a:r>
            <a:r>
              <a:rPr lang="en-US" sz="1800" dirty="0"/>
              <a:t>≥80 years </a:t>
            </a:r>
            <a:r>
              <a:rPr lang="en-US" sz="1800" b="1" dirty="0"/>
              <a:t>OR </a:t>
            </a:r>
            <a:r>
              <a:rPr lang="en-US" sz="1800" dirty="0"/>
              <a:t>considered to be at high or greater risk for surgical aortic valve replacement (AVR) where high risk is defined as: </a:t>
            </a:r>
          </a:p>
          <a:p>
            <a:pPr lvl="1"/>
            <a:r>
              <a:rPr lang="en-US" sz="1600" dirty="0" smtClean="0"/>
              <a:t>STS </a:t>
            </a:r>
            <a:r>
              <a:rPr lang="en-US" sz="1600" dirty="0"/>
              <a:t>predicted risk of mortality ≥8% </a:t>
            </a:r>
            <a:endParaRPr lang="en-US" sz="1600" dirty="0" smtClean="0"/>
          </a:p>
          <a:p>
            <a:pPr marL="457200" lvl="1" indent="0">
              <a:buNone/>
            </a:pPr>
            <a:r>
              <a:rPr lang="en-US" sz="1600" b="1" dirty="0"/>
              <a:t>	</a:t>
            </a:r>
            <a:r>
              <a:rPr lang="en-US" sz="1600" b="1" dirty="0" smtClean="0"/>
              <a:t>OR </a:t>
            </a:r>
            <a:endParaRPr lang="en-US" sz="1600" dirty="0"/>
          </a:p>
          <a:p>
            <a:pPr lvl="1"/>
            <a:r>
              <a:rPr lang="en-US" sz="1600" dirty="0"/>
              <a:t>H</a:t>
            </a:r>
            <a:r>
              <a:rPr lang="en-US" sz="1600" dirty="0" smtClean="0"/>
              <a:t>eart </a:t>
            </a:r>
            <a:r>
              <a:rPr lang="en-US" sz="1600" dirty="0"/>
              <a:t>team agreement of risk for AVR due to frailty or comorbidities</a:t>
            </a:r>
            <a:r>
              <a:rPr lang="en-US" sz="1600" dirty="0" smtClean="0"/>
              <a:t>.</a:t>
            </a:r>
            <a:endParaRPr lang="en-US" sz="1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"/>
          </p:nvPr>
        </p:nvSpPr>
        <p:spPr>
          <a:xfrm>
            <a:off x="4572000" y="960437"/>
            <a:ext cx="4343400" cy="639762"/>
          </a:xfrm>
        </p:spPr>
        <p:txBody>
          <a:bodyPr/>
          <a:lstStyle/>
          <a:p>
            <a:pPr algn="ctr"/>
            <a:r>
              <a:rPr lang="en-US" dirty="0" smtClean="0"/>
              <a:t>EXCLUSION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"/>
          </p:nvPr>
        </p:nvSpPr>
        <p:spPr>
          <a:xfrm>
            <a:off x="4645025" y="1646237"/>
            <a:ext cx="4270375" cy="4297363"/>
          </a:xfrm>
        </p:spPr>
        <p:txBody>
          <a:bodyPr/>
          <a:lstStyle/>
          <a:p>
            <a:r>
              <a:rPr lang="en-US" sz="1800" dirty="0" smtClean="0"/>
              <a:t>Contraindication </a:t>
            </a:r>
            <a:r>
              <a:rPr lang="en-US" sz="1800" dirty="0"/>
              <a:t>to aspirin, </a:t>
            </a:r>
            <a:r>
              <a:rPr lang="en-US" sz="1800" dirty="0" smtClean="0"/>
              <a:t>heparin,  </a:t>
            </a:r>
            <a:r>
              <a:rPr lang="en-US" sz="1800" dirty="0" err="1"/>
              <a:t>bivalirudin</a:t>
            </a:r>
            <a:r>
              <a:rPr lang="en-US" sz="1800" dirty="0"/>
              <a:t>, </a:t>
            </a:r>
            <a:r>
              <a:rPr lang="en-US" sz="1800" dirty="0" err="1"/>
              <a:t>ticlopidine</a:t>
            </a:r>
            <a:r>
              <a:rPr lang="en-US" sz="1800" dirty="0"/>
              <a:t>, </a:t>
            </a:r>
            <a:r>
              <a:rPr lang="en-US" sz="1800" dirty="0" err="1"/>
              <a:t>clopidogrel</a:t>
            </a:r>
            <a:r>
              <a:rPr lang="en-US" sz="1800" dirty="0"/>
              <a:t>, </a:t>
            </a:r>
            <a:r>
              <a:rPr lang="en-US" sz="1800" dirty="0" smtClean="0"/>
              <a:t>Nitinol, contrast media</a:t>
            </a:r>
          </a:p>
          <a:p>
            <a:r>
              <a:rPr lang="en-US" sz="1800" dirty="0" smtClean="0"/>
              <a:t>Mechanical </a:t>
            </a:r>
            <a:r>
              <a:rPr lang="en-US" sz="1800" dirty="0"/>
              <a:t>heart valve in aortic position </a:t>
            </a:r>
          </a:p>
          <a:p>
            <a:r>
              <a:rPr lang="en-US" sz="1800" dirty="0" smtClean="0"/>
              <a:t>Sepsis</a:t>
            </a:r>
            <a:r>
              <a:rPr lang="en-US" sz="1800" dirty="0"/>
              <a:t>, including active endocarditis </a:t>
            </a:r>
          </a:p>
          <a:p>
            <a:r>
              <a:rPr lang="en-US" sz="1800" dirty="0" smtClean="0"/>
              <a:t>Anatomically </a:t>
            </a:r>
            <a:r>
              <a:rPr lang="en-US" sz="1800" dirty="0"/>
              <a:t>not suitable for the </a:t>
            </a:r>
            <a:r>
              <a:rPr lang="en-US" sz="1800" dirty="0" err="1"/>
              <a:t>Evolut</a:t>
            </a:r>
            <a:r>
              <a:rPr lang="en-US" sz="1800" dirty="0"/>
              <a:t> R system </a:t>
            </a:r>
          </a:p>
          <a:p>
            <a:r>
              <a:rPr lang="en-US" sz="1800" dirty="0" smtClean="0"/>
              <a:t>Estimated </a:t>
            </a:r>
            <a:r>
              <a:rPr lang="en-US" sz="1800" dirty="0"/>
              <a:t>life expectancy </a:t>
            </a:r>
            <a:r>
              <a:rPr lang="en-US" sz="1800" dirty="0" smtClean="0"/>
              <a:t>&lt;1 </a:t>
            </a:r>
            <a:r>
              <a:rPr lang="en-US" sz="1800" dirty="0"/>
              <a:t>year </a:t>
            </a:r>
          </a:p>
          <a:p>
            <a:r>
              <a:rPr lang="en-US" sz="1800" dirty="0" smtClean="0"/>
              <a:t>Participating </a:t>
            </a:r>
            <a:r>
              <a:rPr lang="en-US" sz="1800" dirty="0"/>
              <a:t>in another trial that may influence the outcome of this trial </a:t>
            </a:r>
          </a:p>
          <a:p>
            <a:r>
              <a:rPr lang="en-US" sz="1800" dirty="0" smtClean="0"/>
              <a:t>Need </a:t>
            </a:r>
            <a:r>
              <a:rPr lang="en-US" sz="1800" dirty="0"/>
              <a:t>for emergency surgery for any </a:t>
            </a:r>
            <a:r>
              <a:rPr lang="en-US" sz="1800" dirty="0" smtClean="0"/>
              <a:t>reason</a:t>
            </a:r>
            <a:endParaRPr lang="en-US" sz="1800" dirty="0"/>
          </a:p>
          <a:p>
            <a:pPr>
              <a:buClr>
                <a:schemeClr val="bg1"/>
              </a:buClr>
            </a:pPr>
            <a:endParaRPr lang="en-US" sz="1800" dirty="0"/>
          </a:p>
        </p:txBody>
      </p:sp>
      <p:sp>
        <p:nvSpPr>
          <p:cNvPr id="8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Inclusion and Exclusion Criteria</a:t>
            </a:r>
            <a:endParaRPr lang="en-US" sz="3600" dirty="0">
              <a:solidFill>
                <a:srgbClr val="FFD8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409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8210" y="0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Study Oversight and Participation</a:t>
            </a:r>
            <a:endParaRPr lang="en-US" sz="3600" dirty="0">
              <a:solidFill>
                <a:srgbClr val="FFD815"/>
              </a:solidFill>
            </a:endParaRPr>
          </a:p>
        </p:txBody>
      </p:sp>
      <p:grpSp>
        <p:nvGrpSpPr>
          <p:cNvPr id="5" name="Group 4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62400" y="2107894"/>
            <a:ext cx="5101043" cy="2949471"/>
            <a:chOff x="69892" y="908720"/>
            <a:chExt cx="8966604" cy="5184576"/>
          </a:xfrm>
        </p:grpSpPr>
        <p:sp>
          <p:nvSpPr>
            <p:cNvPr id="6" name="Freeform 4"/>
            <p:cNvSpPr>
              <a:spLocks noChangeAspect="1"/>
            </p:cNvSpPr>
            <p:nvPr/>
          </p:nvSpPr>
          <p:spPr bwMode="gray">
            <a:xfrm>
              <a:off x="4749985" y="1315191"/>
              <a:ext cx="4266603" cy="1647451"/>
            </a:xfrm>
            <a:custGeom>
              <a:avLst/>
              <a:gdLst>
                <a:gd name="T0" fmla="*/ 2 w 5927"/>
                <a:gd name="T1" fmla="*/ 111 h 1901"/>
                <a:gd name="T2" fmla="*/ 6 w 5927"/>
                <a:gd name="T3" fmla="*/ 97 h 1901"/>
                <a:gd name="T4" fmla="*/ 6 w 5927"/>
                <a:gd name="T5" fmla="*/ 57 h 1901"/>
                <a:gd name="T6" fmla="*/ 11 w 5927"/>
                <a:gd name="T7" fmla="*/ 53 h 1901"/>
                <a:gd name="T8" fmla="*/ 12 w 5927"/>
                <a:gd name="T9" fmla="*/ 82 h 1901"/>
                <a:gd name="T10" fmla="*/ 14 w 5927"/>
                <a:gd name="T11" fmla="*/ 72 h 1901"/>
                <a:gd name="T12" fmla="*/ 17 w 5927"/>
                <a:gd name="T13" fmla="*/ 63 h 1901"/>
                <a:gd name="T14" fmla="*/ 26 w 5927"/>
                <a:gd name="T15" fmla="*/ 54 h 1901"/>
                <a:gd name="T16" fmla="*/ 33 w 5927"/>
                <a:gd name="T17" fmla="*/ 55 h 1901"/>
                <a:gd name="T18" fmla="*/ 33 w 5927"/>
                <a:gd name="T19" fmla="*/ 31 h 1901"/>
                <a:gd name="T20" fmla="*/ 36 w 5927"/>
                <a:gd name="T21" fmla="*/ 61 h 1901"/>
                <a:gd name="T22" fmla="*/ 37 w 5927"/>
                <a:gd name="T23" fmla="*/ 55 h 1901"/>
                <a:gd name="T24" fmla="*/ 39 w 5927"/>
                <a:gd name="T25" fmla="*/ 55 h 1901"/>
                <a:gd name="T26" fmla="*/ 37 w 5927"/>
                <a:gd name="T27" fmla="*/ 40 h 1901"/>
                <a:gd name="T28" fmla="*/ 42 w 5927"/>
                <a:gd name="T29" fmla="*/ 39 h 1901"/>
                <a:gd name="T30" fmla="*/ 45 w 5927"/>
                <a:gd name="T31" fmla="*/ 25 h 1901"/>
                <a:gd name="T32" fmla="*/ 51 w 5927"/>
                <a:gd name="T33" fmla="*/ 10 h 1901"/>
                <a:gd name="T34" fmla="*/ 55 w 5927"/>
                <a:gd name="T35" fmla="*/ 4 h 1901"/>
                <a:gd name="T36" fmla="*/ 63 w 5927"/>
                <a:gd name="T37" fmla="*/ 12 h 1901"/>
                <a:gd name="T38" fmla="*/ 58 w 5927"/>
                <a:gd name="T39" fmla="*/ 29 h 1901"/>
                <a:gd name="T40" fmla="*/ 63 w 5927"/>
                <a:gd name="T41" fmla="*/ 29 h 1901"/>
                <a:gd name="T42" fmla="*/ 69 w 5927"/>
                <a:gd name="T43" fmla="*/ 26 h 1901"/>
                <a:gd name="T44" fmla="*/ 77 w 5927"/>
                <a:gd name="T45" fmla="*/ 39 h 1901"/>
                <a:gd name="T46" fmla="*/ 86 w 5927"/>
                <a:gd name="T47" fmla="*/ 39 h 1901"/>
                <a:gd name="T48" fmla="*/ 95 w 5927"/>
                <a:gd name="T49" fmla="*/ 50 h 1901"/>
                <a:gd name="T50" fmla="*/ 101 w 5927"/>
                <a:gd name="T51" fmla="*/ 48 h 1901"/>
                <a:gd name="T52" fmla="*/ 111 w 5927"/>
                <a:gd name="T53" fmla="*/ 66 h 1901"/>
                <a:gd name="T54" fmla="*/ 111 w 5927"/>
                <a:gd name="T55" fmla="*/ 78 h 1901"/>
                <a:gd name="T56" fmla="*/ 107 w 5927"/>
                <a:gd name="T57" fmla="*/ 69 h 1901"/>
                <a:gd name="T58" fmla="*/ 106 w 5927"/>
                <a:gd name="T59" fmla="*/ 89 h 1901"/>
                <a:gd name="T60" fmla="*/ 98 w 5927"/>
                <a:gd name="T61" fmla="*/ 98 h 1901"/>
                <a:gd name="T62" fmla="*/ 95 w 5927"/>
                <a:gd name="T63" fmla="*/ 118 h 1901"/>
                <a:gd name="T64" fmla="*/ 92 w 5927"/>
                <a:gd name="T65" fmla="*/ 142 h 1901"/>
                <a:gd name="T66" fmla="*/ 96 w 5927"/>
                <a:gd name="T67" fmla="*/ 90 h 1901"/>
                <a:gd name="T68" fmla="*/ 90 w 5927"/>
                <a:gd name="T69" fmla="*/ 101 h 1901"/>
                <a:gd name="T70" fmla="*/ 82 w 5927"/>
                <a:gd name="T71" fmla="*/ 104 h 1901"/>
                <a:gd name="T72" fmla="*/ 79 w 5927"/>
                <a:gd name="T73" fmla="*/ 131 h 1901"/>
                <a:gd name="T74" fmla="*/ 80 w 5927"/>
                <a:gd name="T75" fmla="*/ 143 h 1901"/>
                <a:gd name="T76" fmla="*/ 74 w 5927"/>
                <a:gd name="T77" fmla="*/ 172 h 1901"/>
                <a:gd name="T78" fmla="*/ 71 w 5927"/>
                <a:gd name="T79" fmla="*/ 133 h 1901"/>
                <a:gd name="T80" fmla="*/ 63 w 5927"/>
                <a:gd name="T81" fmla="*/ 145 h 1901"/>
                <a:gd name="T82" fmla="*/ 52 w 5927"/>
                <a:gd name="T83" fmla="*/ 145 h 1901"/>
                <a:gd name="T84" fmla="*/ 40 w 5927"/>
                <a:gd name="T85" fmla="*/ 145 h 1901"/>
                <a:gd name="T86" fmla="*/ 35 w 5927"/>
                <a:gd name="T87" fmla="*/ 132 h 1901"/>
                <a:gd name="T88" fmla="*/ 28 w 5927"/>
                <a:gd name="T89" fmla="*/ 123 h 1901"/>
                <a:gd name="T90" fmla="*/ 24 w 5927"/>
                <a:gd name="T91" fmla="*/ 127 h 1901"/>
                <a:gd name="T92" fmla="*/ 25 w 5927"/>
                <a:gd name="T93" fmla="*/ 142 h 1901"/>
                <a:gd name="T94" fmla="*/ 22 w 5927"/>
                <a:gd name="T95" fmla="*/ 141 h 1901"/>
                <a:gd name="T96" fmla="*/ 18 w 5927"/>
                <a:gd name="T97" fmla="*/ 144 h 1901"/>
                <a:gd name="T98" fmla="*/ 18 w 5927"/>
                <a:gd name="T99" fmla="*/ 153 h 1901"/>
                <a:gd name="T100" fmla="*/ 18 w 5927"/>
                <a:gd name="T101" fmla="*/ 160 h 1901"/>
                <a:gd name="T102" fmla="*/ 17 w 5927"/>
                <a:gd name="T103" fmla="*/ 174 h 1901"/>
                <a:gd name="T104" fmla="*/ 13 w 5927"/>
                <a:gd name="T105" fmla="*/ 169 h 1901"/>
                <a:gd name="T106" fmla="*/ 13 w 5927"/>
                <a:gd name="T107" fmla="*/ 148 h 1901"/>
                <a:gd name="T108" fmla="*/ 9 w 5927"/>
                <a:gd name="T109" fmla="*/ 136 h 1901"/>
                <a:gd name="T110" fmla="*/ 8 w 5927"/>
                <a:gd name="T111" fmla="*/ 132 h 1901"/>
                <a:gd name="T112" fmla="*/ 5 w 5927"/>
                <a:gd name="T113" fmla="*/ 121 h 1901"/>
                <a:gd name="T114" fmla="*/ 3 w 5927"/>
                <a:gd name="T115" fmla="*/ 130 h 190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27"/>
                <a:gd name="T175" fmla="*/ 0 h 1901"/>
                <a:gd name="T176" fmla="*/ 5927 w 5927"/>
                <a:gd name="T177" fmla="*/ 1901 h 190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27" h="1901">
                  <a:moveTo>
                    <a:pt x="0" y="1351"/>
                  </a:moveTo>
                  <a:lnTo>
                    <a:pt x="49" y="1307"/>
                  </a:lnTo>
                  <a:lnTo>
                    <a:pt x="33" y="1325"/>
                  </a:lnTo>
                  <a:lnTo>
                    <a:pt x="55" y="1330"/>
                  </a:lnTo>
                  <a:lnTo>
                    <a:pt x="49" y="1241"/>
                  </a:lnTo>
                  <a:lnTo>
                    <a:pt x="69" y="1199"/>
                  </a:lnTo>
                  <a:lnTo>
                    <a:pt x="98" y="1193"/>
                  </a:lnTo>
                  <a:lnTo>
                    <a:pt x="155" y="1232"/>
                  </a:lnTo>
                  <a:lnTo>
                    <a:pt x="168" y="1158"/>
                  </a:lnTo>
                  <a:lnTo>
                    <a:pt x="143" y="1159"/>
                  </a:lnTo>
                  <a:lnTo>
                    <a:pt x="133" y="1116"/>
                  </a:lnTo>
                  <a:lnTo>
                    <a:pt x="368" y="1078"/>
                  </a:lnTo>
                  <a:lnTo>
                    <a:pt x="311" y="1062"/>
                  </a:lnTo>
                  <a:lnTo>
                    <a:pt x="313" y="1040"/>
                  </a:lnTo>
                  <a:lnTo>
                    <a:pt x="278" y="1048"/>
                  </a:lnTo>
                  <a:lnTo>
                    <a:pt x="411" y="936"/>
                  </a:lnTo>
                  <a:lnTo>
                    <a:pt x="352" y="818"/>
                  </a:lnTo>
                  <a:lnTo>
                    <a:pt x="366" y="761"/>
                  </a:lnTo>
                  <a:lnTo>
                    <a:pt x="330" y="699"/>
                  </a:lnTo>
                  <a:lnTo>
                    <a:pt x="360" y="664"/>
                  </a:lnTo>
                  <a:lnTo>
                    <a:pt x="311" y="615"/>
                  </a:lnTo>
                  <a:lnTo>
                    <a:pt x="325" y="574"/>
                  </a:lnTo>
                  <a:lnTo>
                    <a:pt x="389" y="529"/>
                  </a:lnTo>
                  <a:lnTo>
                    <a:pt x="425" y="523"/>
                  </a:lnTo>
                  <a:lnTo>
                    <a:pt x="470" y="533"/>
                  </a:lnTo>
                  <a:lnTo>
                    <a:pt x="431" y="544"/>
                  </a:lnTo>
                  <a:lnTo>
                    <a:pt x="461" y="561"/>
                  </a:lnTo>
                  <a:lnTo>
                    <a:pt x="564" y="566"/>
                  </a:lnTo>
                  <a:lnTo>
                    <a:pt x="745" y="661"/>
                  </a:lnTo>
                  <a:lnTo>
                    <a:pt x="750" y="708"/>
                  </a:lnTo>
                  <a:lnTo>
                    <a:pt x="670" y="749"/>
                  </a:lnTo>
                  <a:lnTo>
                    <a:pt x="427" y="692"/>
                  </a:lnTo>
                  <a:lnTo>
                    <a:pt x="526" y="760"/>
                  </a:lnTo>
                  <a:lnTo>
                    <a:pt x="524" y="838"/>
                  </a:lnTo>
                  <a:lnTo>
                    <a:pt x="623" y="878"/>
                  </a:lnTo>
                  <a:lnTo>
                    <a:pt x="648" y="870"/>
                  </a:lnTo>
                  <a:lnTo>
                    <a:pt x="635" y="838"/>
                  </a:lnTo>
                  <a:lnTo>
                    <a:pt x="590" y="826"/>
                  </a:lnTo>
                  <a:lnTo>
                    <a:pt x="601" y="799"/>
                  </a:lnTo>
                  <a:lnTo>
                    <a:pt x="645" y="829"/>
                  </a:lnTo>
                  <a:lnTo>
                    <a:pt x="741" y="838"/>
                  </a:lnTo>
                  <a:lnTo>
                    <a:pt x="700" y="776"/>
                  </a:lnTo>
                  <a:lnTo>
                    <a:pt x="788" y="724"/>
                  </a:lnTo>
                  <a:lnTo>
                    <a:pt x="853" y="760"/>
                  </a:lnTo>
                  <a:lnTo>
                    <a:pt x="851" y="618"/>
                  </a:lnTo>
                  <a:lnTo>
                    <a:pt x="823" y="598"/>
                  </a:lnTo>
                  <a:lnTo>
                    <a:pt x="931" y="629"/>
                  </a:lnTo>
                  <a:lnTo>
                    <a:pt x="938" y="646"/>
                  </a:lnTo>
                  <a:lnTo>
                    <a:pt x="881" y="671"/>
                  </a:lnTo>
                  <a:lnTo>
                    <a:pt x="938" y="716"/>
                  </a:lnTo>
                  <a:lnTo>
                    <a:pt x="987" y="664"/>
                  </a:lnTo>
                  <a:lnTo>
                    <a:pt x="1187" y="580"/>
                  </a:lnTo>
                  <a:lnTo>
                    <a:pt x="1217" y="576"/>
                  </a:lnTo>
                  <a:lnTo>
                    <a:pt x="1187" y="590"/>
                  </a:lnTo>
                  <a:lnTo>
                    <a:pt x="1220" y="631"/>
                  </a:lnTo>
                  <a:lnTo>
                    <a:pt x="1364" y="576"/>
                  </a:lnTo>
                  <a:lnTo>
                    <a:pt x="1397" y="616"/>
                  </a:lnTo>
                  <a:lnTo>
                    <a:pt x="1431" y="587"/>
                  </a:lnTo>
                  <a:lnTo>
                    <a:pt x="1414" y="540"/>
                  </a:lnTo>
                  <a:lnTo>
                    <a:pt x="1434" y="525"/>
                  </a:lnTo>
                  <a:lnTo>
                    <a:pt x="1544" y="547"/>
                  </a:lnTo>
                  <a:lnTo>
                    <a:pt x="1689" y="627"/>
                  </a:lnTo>
                  <a:lnTo>
                    <a:pt x="1719" y="589"/>
                  </a:lnTo>
                  <a:lnTo>
                    <a:pt x="1687" y="549"/>
                  </a:lnTo>
                  <a:lnTo>
                    <a:pt x="1643" y="538"/>
                  </a:lnTo>
                  <a:lnTo>
                    <a:pt x="1660" y="474"/>
                  </a:lnTo>
                  <a:lnTo>
                    <a:pt x="1629" y="465"/>
                  </a:lnTo>
                  <a:lnTo>
                    <a:pt x="1640" y="437"/>
                  </a:lnTo>
                  <a:lnTo>
                    <a:pt x="1693" y="406"/>
                  </a:lnTo>
                  <a:lnTo>
                    <a:pt x="1727" y="330"/>
                  </a:lnTo>
                  <a:lnTo>
                    <a:pt x="1803" y="332"/>
                  </a:lnTo>
                  <a:lnTo>
                    <a:pt x="1838" y="343"/>
                  </a:lnTo>
                  <a:lnTo>
                    <a:pt x="1812" y="423"/>
                  </a:lnTo>
                  <a:lnTo>
                    <a:pt x="1842" y="463"/>
                  </a:lnTo>
                  <a:lnTo>
                    <a:pt x="1832" y="574"/>
                  </a:lnTo>
                  <a:lnTo>
                    <a:pt x="1870" y="613"/>
                  </a:lnTo>
                  <a:lnTo>
                    <a:pt x="1856" y="653"/>
                  </a:lnTo>
                  <a:lnTo>
                    <a:pt x="1798" y="684"/>
                  </a:lnTo>
                  <a:lnTo>
                    <a:pt x="1816" y="699"/>
                  </a:lnTo>
                  <a:lnTo>
                    <a:pt x="1742" y="715"/>
                  </a:lnTo>
                  <a:lnTo>
                    <a:pt x="1821" y="742"/>
                  </a:lnTo>
                  <a:lnTo>
                    <a:pt x="1912" y="653"/>
                  </a:lnTo>
                  <a:lnTo>
                    <a:pt x="1901" y="598"/>
                  </a:lnTo>
                  <a:lnTo>
                    <a:pt x="1933" y="589"/>
                  </a:lnTo>
                  <a:lnTo>
                    <a:pt x="1980" y="579"/>
                  </a:lnTo>
                  <a:lnTo>
                    <a:pt x="2002" y="610"/>
                  </a:lnTo>
                  <a:lnTo>
                    <a:pt x="2000" y="651"/>
                  </a:lnTo>
                  <a:lnTo>
                    <a:pt x="2059" y="665"/>
                  </a:lnTo>
                  <a:lnTo>
                    <a:pt x="2013" y="650"/>
                  </a:lnTo>
                  <a:lnTo>
                    <a:pt x="2033" y="626"/>
                  </a:lnTo>
                  <a:lnTo>
                    <a:pt x="2016" y="589"/>
                  </a:lnTo>
                  <a:lnTo>
                    <a:pt x="1880" y="565"/>
                  </a:lnTo>
                  <a:lnTo>
                    <a:pt x="1901" y="478"/>
                  </a:lnTo>
                  <a:lnTo>
                    <a:pt x="1854" y="423"/>
                  </a:lnTo>
                  <a:lnTo>
                    <a:pt x="1922" y="373"/>
                  </a:lnTo>
                  <a:lnTo>
                    <a:pt x="1913" y="337"/>
                  </a:lnTo>
                  <a:lnTo>
                    <a:pt x="1944" y="358"/>
                  </a:lnTo>
                  <a:lnTo>
                    <a:pt x="1929" y="428"/>
                  </a:lnTo>
                  <a:lnTo>
                    <a:pt x="1950" y="437"/>
                  </a:lnTo>
                  <a:lnTo>
                    <a:pt x="2041" y="459"/>
                  </a:lnTo>
                  <a:lnTo>
                    <a:pt x="1958" y="401"/>
                  </a:lnTo>
                  <a:lnTo>
                    <a:pt x="2022" y="403"/>
                  </a:lnTo>
                  <a:lnTo>
                    <a:pt x="2007" y="380"/>
                  </a:lnTo>
                  <a:lnTo>
                    <a:pt x="2041" y="369"/>
                  </a:lnTo>
                  <a:lnTo>
                    <a:pt x="2209" y="414"/>
                  </a:lnTo>
                  <a:lnTo>
                    <a:pt x="2177" y="445"/>
                  </a:lnTo>
                  <a:lnTo>
                    <a:pt x="2172" y="490"/>
                  </a:lnTo>
                  <a:lnTo>
                    <a:pt x="2207" y="516"/>
                  </a:lnTo>
                  <a:lnTo>
                    <a:pt x="2224" y="414"/>
                  </a:lnTo>
                  <a:lnTo>
                    <a:pt x="2133" y="363"/>
                  </a:lnTo>
                  <a:lnTo>
                    <a:pt x="2114" y="293"/>
                  </a:lnTo>
                  <a:lnTo>
                    <a:pt x="2328" y="267"/>
                  </a:lnTo>
                  <a:lnTo>
                    <a:pt x="2300" y="203"/>
                  </a:lnTo>
                  <a:lnTo>
                    <a:pt x="2328" y="217"/>
                  </a:lnTo>
                  <a:lnTo>
                    <a:pt x="2363" y="192"/>
                  </a:lnTo>
                  <a:lnTo>
                    <a:pt x="2337" y="184"/>
                  </a:lnTo>
                  <a:lnTo>
                    <a:pt x="2560" y="132"/>
                  </a:lnTo>
                  <a:lnTo>
                    <a:pt x="2542" y="117"/>
                  </a:lnTo>
                  <a:lnTo>
                    <a:pt x="2644" y="112"/>
                  </a:lnTo>
                  <a:lnTo>
                    <a:pt x="2643" y="129"/>
                  </a:lnTo>
                  <a:lnTo>
                    <a:pt x="2669" y="129"/>
                  </a:lnTo>
                  <a:lnTo>
                    <a:pt x="2744" y="106"/>
                  </a:lnTo>
                  <a:lnTo>
                    <a:pt x="2779" y="118"/>
                  </a:lnTo>
                  <a:lnTo>
                    <a:pt x="2746" y="90"/>
                  </a:lnTo>
                  <a:lnTo>
                    <a:pt x="2830" y="84"/>
                  </a:lnTo>
                  <a:lnTo>
                    <a:pt x="2833" y="48"/>
                  </a:lnTo>
                  <a:lnTo>
                    <a:pt x="2933" y="0"/>
                  </a:lnTo>
                  <a:lnTo>
                    <a:pt x="3002" y="29"/>
                  </a:lnTo>
                  <a:lnTo>
                    <a:pt x="2943" y="55"/>
                  </a:lnTo>
                  <a:lnTo>
                    <a:pt x="3043" y="53"/>
                  </a:lnTo>
                  <a:lnTo>
                    <a:pt x="3003" y="90"/>
                  </a:lnTo>
                  <a:lnTo>
                    <a:pt x="3174" y="72"/>
                  </a:lnTo>
                  <a:lnTo>
                    <a:pt x="3269" y="129"/>
                  </a:lnTo>
                  <a:lnTo>
                    <a:pt x="3255" y="150"/>
                  </a:lnTo>
                  <a:lnTo>
                    <a:pt x="3223" y="138"/>
                  </a:lnTo>
                  <a:lnTo>
                    <a:pt x="3266" y="156"/>
                  </a:lnTo>
                  <a:lnTo>
                    <a:pt x="3245" y="190"/>
                  </a:lnTo>
                  <a:lnTo>
                    <a:pt x="2933" y="355"/>
                  </a:lnTo>
                  <a:lnTo>
                    <a:pt x="3032" y="335"/>
                  </a:lnTo>
                  <a:lnTo>
                    <a:pt x="3011" y="313"/>
                  </a:lnTo>
                  <a:lnTo>
                    <a:pt x="3169" y="282"/>
                  </a:lnTo>
                  <a:lnTo>
                    <a:pt x="3126" y="287"/>
                  </a:lnTo>
                  <a:lnTo>
                    <a:pt x="3136" y="259"/>
                  </a:lnTo>
                  <a:lnTo>
                    <a:pt x="3223" y="282"/>
                  </a:lnTo>
                  <a:lnTo>
                    <a:pt x="3236" y="259"/>
                  </a:lnTo>
                  <a:lnTo>
                    <a:pt x="3256" y="313"/>
                  </a:lnTo>
                  <a:lnTo>
                    <a:pt x="3299" y="316"/>
                  </a:lnTo>
                  <a:lnTo>
                    <a:pt x="3258" y="294"/>
                  </a:lnTo>
                  <a:lnTo>
                    <a:pt x="3342" y="280"/>
                  </a:lnTo>
                  <a:lnTo>
                    <a:pt x="3442" y="293"/>
                  </a:lnTo>
                  <a:lnTo>
                    <a:pt x="3433" y="313"/>
                  </a:lnTo>
                  <a:lnTo>
                    <a:pt x="3520" y="330"/>
                  </a:lnTo>
                  <a:lnTo>
                    <a:pt x="3596" y="326"/>
                  </a:lnTo>
                  <a:lnTo>
                    <a:pt x="3600" y="275"/>
                  </a:lnTo>
                  <a:lnTo>
                    <a:pt x="3622" y="269"/>
                  </a:lnTo>
                  <a:lnTo>
                    <a:pt x="3815" y="326"/>
                  </a:lnTo>
                  <a:lnTo>
                    <a:pt x="3788" y="414"/>
                  </a:lnTo>
                  <a:lnTo>
                    <a:pt x="3877" y="474"/>
                  </a:lnTo>
                  <a:lnTo>
                    <a:pt x="3926" y="392"/>
                  </a:lnTo>
                  <a:lnTo>
                    <a:pt x="3959" y="428"/>
                  </a:lnTo>
                  <a:lnTo>
                    <a:pt x="4024" y="414"/>
                  </a:lnTo>
                  <a:lnTo>
                    <a:pt x="4110" y="445"/>
                  </a:lnTo>
                  <a:lnTo>
                    <a:pt x="4179" y="426"/>
                  </a:lnTo>
                  <a:lnTo>
                    <a:pt x="4172" y="392"/>
                  </a:lnTo>
                  <a:lnTo>
                    <a:pt x="4220" y="336"/>
                  </a:lnTo>
                  <a:lnTo>
                    <a:pt x="4508" y="376"/>
                  </a:lnTo>
                  <a:lnTo>
                    <a:pt x="4527" y="402"/>
                  </a:lnTo>
                  <a:lnTo>
                    <a:pt x="4491" y="413"/>
                  </a:lnTo>
                  <a:lnTo>
                    <a:pt x="4584" y="426"/>
                  </a:lnTo>
                  <a:lnTo>
                    <a:pt x="4619" y="465"/>
                  </a:lnTo>
                  <a:lnTo>
                    <a:pt x="4835" y="459"/>
                  </a:lnTo>
                  <a:lnTo>
                    <a:pt x="4875" y="490"/>
                  </a:lnTo>
                  <a:lnTo>
                    <a:pt x="4861" y="529"/>
                  </a:lnTo>
                  <a:lnTo>
                    <a:pt x="4924" y="556"/>
                  </a:lnTo>
                  <a:lnTo>
                    <a:pt x="4957" y="534"/>
                  </a:lnTo>
                  <a:lnTo>
                    <a:pt x="5111" y="550"/>
                  </a:lnTo>
                  <a:lnTo>
                    <a:pt x="5142" y="529"/>
                  </a:lnTo>
                  <a:lnTo>
                    <a:pt x="5162" y="563"/>
                  </a:lnTo>
                  <a:lnTo>
                    <a:pt x="5225" y="591"/>
                  </a:lnTo>
                  <a:lnTo>
                    <a:pt x="5256" y="572"/>
                  </a:lnTo>
                  <a:lnTo>
                    <a:pt x="5224" y="540"/>
                  </a:lnTo>
                  <a:lnTo>
                    <a:pt x="5242" y="516"/>
                  </a:lnTo>
                  <a:lnTo>
                    <a:pt x="5513" y="555"/>
                  </a:lnTo>
                  <a:lnTo>
                    <a:pt x="5691" y="655"/>
                  </a:lnTo>
                  <a:lnTo>
                    <a:pt x="5729" y="655"/>
                  </a:lnTo>
                  <a:lnTo>
                    <a:pt x="5774" y="736"/>
                  </a:lnTo>
                  <a:lnTo>
                    <a:pt x="5756" y="692"/>
                  </a:lnTo>
                  <a:lnTo>
                    <a:pt x="5784" y="688"/>
                  </a:lnTo>
                  <a:lnTo>
                    <a:pt x="5802" y="705"/>
                  </a:lnTo>
                  <a:lnTo>
                    <a:pt x="5854" y="699"/>
                  </a:lnTo>
                  <a:lnTo>
                    <a:pt x="5927" y="746"/>
                  </a:lnTo>
                  <a:lnTo>
                    <a:pt x="5823" y="798"/>
                  </a:lnTo>
                  <a:lnTo>
                    <a:pt x="5844" y="812"/>
                  </a:lnTo>
                  <a:lnTo>
                    <a:pt x="5807" y="821"/>
                  </a:lnTo>
                  <a:lnTo>
                    <a:pt x="5837" y="841"/>
                  </a:lnTo>
                  <a:lnTo>
                    <a:pt x="5774" y="842"/>
                  </a:lnTo>
                  <a:lnTo>
                    <a:pt x="5755" y="812"/>
                  </a:lnTo>
                  <a:lnTo>
                    <a:pt x="5730" y="824"/>
                  </a:lnTo>
                  <a:lnTo>
                    <a:pt x="5690" y="776"/>
                  </a:lnTo>
                  <a:lnTo>
                    <a:pt x="5620" y="777"/>
                  </a:lnTo>
                  <a:lnTo>
                    <a:pt x="5602" y="749"/>
                  </a:lnTo>
                  <a:lnTo>
                    <a:pt x="5619" y="736"/>
                  </a:lnTo>
                  <a:lnTo>
                    <a:pt x="5591" y="736"/>
                  </a:lnTo>
                  <a:lnTo>
                    <a:pt x="5569" y="746"/>
                  </a:lnTo>
                  <a:lnTo>
                    <a:pt x="5595" y="779"/>
                  </a:lnTo>
                  <a:lnTo>
                    <a:pt x="5579" y="799"/>
                  </a:lnTo>
                  <a:lnTo>
                    <a:pt x="5519" y="832"/>
                  </a:lnTo>
                  <a:lnTo>
                    <a:pt x="5478" y="825"/>
                  </a:lnTo>
                  <a:lnTo>
                    <a:pt x="5546" y="918"/>
                  </a:lnTo>
                  <a:lnTo>
                    <a:pt x="5535" y="953"/>
                  </a:lnTo>
                  <a:lnTo>
                    <a:pt x="5466" y="928"/>
                  </a:lnTo>
                  <a:lnTo>
                    <a:pt x="5469" y="942"/>
                  </a:lnTo>
                  <a:lnTo>
                    <a:pt x="5343" y="988"/>
                  </a:lnTo>
                  <a:lnTo>
                    <a:pt x="5231" y="1082"/>
                  </a:lnTo>
                  <a:lnTo>
                    <a:pt x="5155" y="1046"/>
                  </a:lnTo>
                  <a:lnTo>
                    <a:pt x="5086" y="1084"/>
                  </a:lnTo>
                  <a:lnTo>
                    <a:pt x="5086" y="1050"/>
                  </a:lnTo>
                  <a:lnTo>
                    <a:pt x="5045" y="1087"/>
                  </a:lnTo>
                  <a:lnTo>
                    <a:pt x="4996" y="1083"/>
                  </a:lnTo>
                  <a:lnTo>
                    <a:pt x="4944" y="1175"/>
                  </a:lnTo>
                  <a:lnTo>
                    <a:pt x="4985" y="1193"/>
                  </a:lnTo>
                  <a:lnTo>
                    <a:pt x="4968" y="1224"/>
                  </a:lnTo>
                  <a:lnTo>
                    <a:pt x="4988" y="1270"/>
                  </a:lnTo>
                  <a:lnTo>
                    <a:pt x="4952" y="1262"/>
                  </a:lnTo>
                  <a:lnTo>
                    <a:pt x="4932" y="1303"/>
                  </a:lnTo>
                  <a:lnTo>
                    <a:pt x="4945" y="1341"/>
                  </a:lnTo>
                  <a:lnTo>
                    <a:pt x="4869" y="1372"/>
                  </a:lnTo>
                  <a:lnTo>
                    <a:pt x="4875" y="1413"/>
                  </a:lnTo>
                  <a:lnTo>
                    <a:pt x="4825" y="1424"/>
                  </a:lnTo>
                  <a:lnTo>
                    <a:pt x="4811" y="1471"/>
                  </a:lnTo>
                  <a:lnTo>
                    <a:pt x="4765" y="1520"/>
                  </a:lnTo>
                  <a:lnTo>
                    <a:pt x="4726" y="1341"/>
                  </a:lnTo>
                  <a:lnTo>
                    <a:pt x="4731" y="1244"/>
                  </a:lnTo>
                  <a:lnTo>
                    <a:pt x="4765" y="1188"/>
                  </a:lnTo>
                  <a:lnTo>
                    <a:pt x="4818" y="1176"/>
                  </a:lnTo>
                  <a:lnTo>
                    <a:pt x="4941" y="1056"/>
                  </a:lnTo>
                  <a:lnTo>
                    <a:pt x="5000" y="1032"/>
                  </a:lnTo>
                  <a:lnTo>
                    <a:pt x="5020" y="962"/>
                  </a:lnTo>
                  <a:lnTo>
                    <a:pt x="5045" y="944"/>
                  </a:lnTo>
                  <a:lnTo>
                    <a:pt x="4998" y="942"/>
                  </a:lnTo>
                  <a:lnTo>
                    <a:pt x="4984" y="999"/>
                  </a:lnTo>
                  <a:lnTo>
                    <a:pt x="4879" y="1048"/>
                  </a:lnTo>
                  <a:lnTo>
                    <a:pt x="4890" y="974"/>
                  </a:lnTo>
                  <a:lnTo>
                    <a:pt x="4778" y="990"/>
                  </a:lnTo>
                  <a:lnTo>
                    <a:pt x="4672" y="1084"/>
                  </a:lnTo>
                  <a:lnTo>
                    <a:pt x="4692" y="1123"/>
                  </a:lnTo>
                  <a:lnTo>
                    <a:pt x="4579" y="1136"/>
                  </a:lnTo>
                  <a:lnTo>
                    <a:pt x="4565" y="1125"/>
                  </a:lnTo>
                  <a:lnTo>
                    <a:pt x="4604" y="1119"/>
                  </a:lnTo>
                  <a:lnTo>
                    <a:pt x="4510" y="1095"/>
                  </a:lnTo>
                  <a:lnTo>
                    <a:pt x="4484" y="1119"/>
                  </a:lnTo>
                  <a:lnTo>
                    <a:pt x="4271" y="1121"/>
                  </a:lnTo>
                  <a:lnTo>
                    <a:pt x="4017" y="1337"/>
                  </a:lnTo>
                  <a:lnTo>
                    <a:pt x="4068" y="1346"/>
                  </a:lnTo>
                  <a:lnTo>
                    <a:pt x="4068" y="1385"/>
                  </a:lnTo>
                  <a:lnTo>
                    <a:pt x="4097" y="1361"/>
                  </a:lnTo>
                  <a:lnTo>
                    <a:pt x="4089" y="1394"/>
                  </a:lnTo>
                  <a:lnTo>
                    <a:pt x="4128" y="1375"/>
                  </a:lnTo>
                  <a:lnTo>
                    <a:pt x="4123" y="1396"/>
                  </a:lnTo>
                  <a:lnTo>
                    <a:pt x="4135" y="1361"/>
                  </a:lnTo>
                  <a:lnTo>
                    <a:pt x="4172" y="1362"/>
                  </a:lnTo>
                  <a:lnTo>
                    <a:pt x="4226" y="1407"/>
                  </a:lnTo>
                  <a:lnTo>
                    <a:pt x="4178" y="1412"/>
                  </a:lnTo>
                  <a:lnTo>
                    <a:pt x="4221" y="1427"/>
                  </a:lnTo>
                  <a:lnTo>
                    <a:pt x="4231" y="1457"/>
                  </a:lnTo>
                  <a:lnTo>
                    <a:pt x="4197" y="1526"/>
                  </a:lnTo>
                  <a:lnTo>
                    <a:pt x="4189" y="1630"/>
                  </a:lnTo>
                  <a:lnTo>
                    <a:pt x="4011" y="1845"/>
                  </a:lnTo>
                  <a:lnTo>
                    <a:pt x="3948" y="1873"/>
                  </a:lnTo>
                  <a:lnTo>
                    <a:pt x="3899" y="1845"/>
                  </a:lnTo>
                  <a:lnTo>
                    <a:pt x="3857" y="1887"/>
                  </a:lnTo>
                  <a:lnTo>
                    <a:pt x="3852" y="1878"/>
                  </a:lnTo>
                  <a:lnTo>
                    <a:pt x="3876" y="1845"/>
                  </a:lnTo>
                  <a:lnTo>
                    <a:pt x="3866" y="1791"/>
                  </a:lnTo>
                  <a:lnTo>
                    <a:pt x="3942" y="1769"/>
                  </a:lnTo>
                  <a:lnTo>
                    <a:pt x="4002" y="1625"/>
                  </a:lnTo>
                  <a:lnTo>
                    <a:pt x="3872" y="1659"/>
                  </a:lnTo>
                  <a:lnTo>
                    <a:pt x="3852" y="1605"/>
                  </a:lnTo>
                  <a:lnTo>
                    <a:pt x="3746" y="1572"/>
                  </a:lnTo>
                  <a:lnTo>
                    <a:pt x="3682" y="1423"/>
                  </a:lnTo>
                  <a:lnTo>
                    <a:pt x="3612" y="1396"/>
                  </a:lnTo>
                  <a:lnTo>
                    <a:pt x="3486" y="1437"/>
                  </a:lnTo>
                  <a:lnTo>
                    <a:pt x="3510" y="1468"/>
                  </a:lnTo>
                  <a:lnTo>
                    <a:pt x="3459" y="1556"/>
                  </a:lnTo>
                  <a:lnTo>
                    <a:pt x="3409" y="1580"/>
                  </a:lnTo>
                  <a:lnTo>
                    <a:pt x="3356" y="1559"/>
                  </a:lnTo>
                  <a:lnTo>
                    <a:pt x="3293" y="1549"/>
                  </a:lnTo>
                  <a:lnTo>
                    <a:pt x="3129" y="1589"/>
                  </a:lnTo>
                  <a:lnTo>
                    <a:pt x="2984" y="1531"/>
                  </a:lnTo>
                  <a:lnTo>
                    <a:pt x="2892" y="1539"/>
                  </a:lnTo>
                  <a:lnTo>
                    <a:pt x="2857" y="1490"/>
                  </a:lnTo>
                  <a:lnTo>
                    <a:pt x="2766" y="1457"/>
                  </a:lnTo>
                  <a:lnTo>
                    <a:pt x="2718" y="1492"/>
                  </a:lnTo>
                  <a:lnTo>
                    <a:pt x="2714" y="1558"/>
                  </a:lnTo>
                  <a:lnTo>
                    <a:pt x="2506" y="1529"/>
                  </a:lnTo>
                  <a:lnTo>
                    <a:pt x="2396" y="1589"/>
                  </a:lnTo>
                  <a:lnTo>
                    <a:pt x="2337" y="1614"/>
                  </a:lnTo>
                  <a:lnTo>
                    <a:pt x="2263" y="1566"/>
                  </a:lnTo>
                  <a:lnTo>
                    <a:pt x="2215" y="1592"/>
                  </a:lnTo>
                  <a:lnTo>
                    <a:pt x="2127" y="1559"/>
                  </a:lnTo>
                  <a:lnTo>
                    <a:pt x="2094" y="1556"/>
                  </a:lnTo>
                  <a:lnTo>
                    <a:pt x="2068" y="1505"/>
                  </a:lnTo>
                  <a:lnTo>
                    <a:pt x="2022" y="1505"/>
                  </a:lnTo>
                  <a:lnTo>
                    <a:pt x="2001" y="1514"/>
                  </a:lnTo>
                  <a:lnTo>
                    <a:pt x="1964" y="1474"/>
                  </a:lnTo>
                  <a:lnTo>
                    <a:pt x="1939" y="1485"/>
                  </a:lnTo>
                  <a:lnTo>
                    <a:pt x="1914" y="1498"/>
                  </a:lnTo>
                  <a:lnTo>
                    <a:pt x="1816" y="1416"/>
                  </a:lnTo>
                  <a:lnTo>
                    <a:pt x="1788" y="1410"/>
                  </a:lnTo>
                  <a:lnTo>
                    <a:pt x="1722" y="1347"/>
                  </a:lnTo>
                  <a:lnTo>
                    <a:pt x="1661" y="1385"/>
                  </a:lnTo>
                  <a:lnTo>
                    <a:pt x="1650" y="1359"/>
                  </a:lnTo>
                  <a:lnTo>
                    <a:pt x="1558" y="1356"/>
                  </a:lnTo>
                  <a:lnTo>
                    <a:pt x="1524" y="1311"/>
                  </a:lnTo>
                  <a:lnTo>
                    <a:pt x="1475" y="1315"/>
                  </a:lnTo>
                  <a:lnTo>
                    <a:pt x="1458" y="1334"/>
                  </a:lnTo>
                  <a:lnTo>
                    <a:pt x="1397" y="1345"/>
                  </a:lnTo>
                  <a:lnTo>
                    <a:pt x="1380" y="1334"/>
                  </a:lnTo>
                  <a:lnTo>
                    <a:pt x="1357" y="1368"/>
                  </a:lnTo>
                  <a:lnTo>
                    <a:pt x="1338" y="1359"/>
                  </a:lnTo>
                  <a:lnTo>
                    <a:pt x="1265" y="1369"/>
                  </a:lnTo>
                  <a:lnTo>
                    <a:pt x="1242" y="1359"/>
                  </a:lnTo>
                  <a:lnTo>
                    <a:pt x="1233" y="1369"/>
                  </a:lnTo>
                  <a:lnTo>
                    <a:pt x="1270" y="1410"/>
                  </a:lnTo>
                  <a:lnTo>
                    <a:pt x="1244" y="1432"/>
                  </a:lnTo>
                  <a:lnTo>
                    <a:pt x="1246" y="1465"/>
                  </a:lnTo>
                  <a:lnTo>
                    <a:pt x="1288" y="1466"/>
                  </a:lnTo>
                  <a:lnTo>
                    <a:pt x="1305" y="1498"/>
                  </a:lnTo>
                  <a:lnTo>
                    <a:pt x="1295" y="1521"/>
                  </a:lnTo>
                  <a:lnTo>
                    <a:pt x="1265" y="1505"/>
                  </a:lnTo>
                  <a:lnTo>
                    <a:pt x="1242" y="1520"/>
                  </a:lnTo>
                  <a:lnTo>
                    <a:pt x="1218" y="1506"/>
                  </a:lnTo>
                  <a:lnTo>
                    <a:pt x="1207" y="1485"/>
                  </a:lnTo>
                  <a:lnTo>
                    <a:pt x="1178" y="1498"/>
                  </a:lnTo>
                  <a:lnTo>
                    <a:pt x="1157" y="1487"/>
                  </a:lnTo>
                  <a:lnTo>
                    <a:pt x="1134" y="1505"/>
                  </a:lnTo>
                  <a:lnTo>
                    <a:pt x="1101" y="1509"/>
                  </a:lnTo>
                  <a:lnTo>
                    <a:pt x="1083" y="1485"/>
                  </a:lnTo>
                  <a:lnTo>
                    <a:pt x="970" y="1478"/>
                  </a:lnTo>
                  <a:lnTo>
                    <a:pt x="957" y="1490"/>
                  </a:lnTo>
                  <a:lnTo>
                    <a:pt x="946" y="1489"/>
                  </a:lnTo>
                  <a:lnTo>
                    <a:pt x="930" y="1515"/>
                  </a:lnTo>
                  <a:lnTo>
                    <a:pt x="931" y="1540"/>
                  </a:lnTo>
                  <a:lnTo>
                    <a:pt x="917" y="1542"/>
                  </a:lnTo>
                  <a:lnTo>
                    <a:pt x="908" y="1521"/>
                  </a:lnTo>
                  <a:lnTo>
                    <a:pt x="892" y="1523"/>
                  </a:lnTo>
                  <a:lnTo>
                    <a:pt x="888" y="1597"/>
                  </a:lnTo>
                  <a:lnTo>
                    <a:pt x="905" y="1619"/>
                  </a:lnTo>
                  <a:lnTo>
                    <a:pt x="905" y="1640"/>
                  </a:lnTo>
                  <a:lnTo>
                    <a:pt x="924" y="1636"/>
                  </a:lnTo>
                  <a:lnTo>
                    <a:pt x="946" y="1626"/>
                  </a:lnTo>
                  <a:lnTo>
                    <a:pt x="966" y="1659"/>
                  </a:lnTo>
                  <a:lnTo>
                    <a:pt x="982" y="1681"/>
                  </a:lnTo>
                  <a:lnTo>
                    <a:pt x="998" y="1708"/>
                  </a:lnTo>
                  <a:lnTo>
                    <a:pt x="1023" y="1715"/>
                  </a:lnTo>
                  <a:lnTo>
                    <a:pt x="991" y="1736"/>
                  </a:lnTo>
                  <a:lnTo>
                    <a:pt x="968" y="1717"/>
                  </a:lnTo>
                  <a:lnTo>
                    <a:pt x="944" y="1800"/>
                  </a:lnTo>
                  <a:lnTo>
                    <a:pt x="972" y="1821"/>
                  </a:lnTo>
                  <a:lnTo>
                    <a:pt x="997" y="1901"/>
                  </a:lnTo>
                  <a:lnTo>
                    <a:pt x="974" y="1887"/>
                  </a:lnTo>
                  <a:lnTo>
                    <a:pt x="950" y="1878"/>
                  </a:lnTo>
                  <a:lnTo>
                    <a:pt x="924" y="1873"/>
                  </a:lnTo>
                  <a:lnTo>
                    <a:pt x="905" y="1865"/>
                  </a:lnTo>
                  <a:lnTo>
                    <a:pt x="887" y="1862"/>
                  </a:lnTo>
                  <a:lnTo>
                    <a:pt x="871" y="1834"/>
                  </a:lnTo>
                  <a:lnTo>
                    <a:pt x="836" y="1851"/>
                  </a:lnTo>
                  <a:lnTo>
                    <a:pt x="802" y="1850"/>
                  </a:lnTo>
                  <a:lnTo>
                    <a:pt x="780" y="1825"/>
                  </a:lnTo>
                  <a:lnTo>
                    <a:pt x="725" y="1802"/>
                  </a:lnTo>
                  <a:lnTo>
                    <a:pt x="669" y="1807"/>
                  </a:lnTo>
                  <a:lnTo>
                    <a:pt x="610" y="1767"/>
                  </a:lnTo>
                  <a:lnTo>
                    <a:pt x="657" y="1729"/>
                  </a:lnTo>
                  <a:lnTo>
                    <a:pt x="662" y="1698"/>
                  </a:lnTo>
                  <a:lnTo>
                    <a:pt x="661" y="1666"/>
                  </a:lnTo>
                  <a:lnTo>
                    <a:pt x="665" y="1642"/>
                  </a:lnTo>
                  <a:lnTo>
                    <a:pt x="695" y="1633"/>
                  </a:lnTo>
                  <a:lnTo>
                    <a:pt x="679" y="1584"/>
                  </a:lnTo>
                  <a:lnTo>
                    <a:pt x="643" y="1572"/>
                  </a:lnTo>
                  <a:lnTo>
                    <a:pt x="626" y="1564"/>
                  </a:lnTo>
                  <a:lnTo>
                    <a:pt x="602" y="1571"/>
                  </a:lnTo>
                  <a:lnTo>
                    <a:pt x="551" y="1558"/>
                  </a:lnTo>
                  <a:lnTo>
                    <a:pt x="509" y="1511"/>
                  </a:lnTo>
                  <a:lnTo>
                    <a:pt x="476" y="1496"/>
                  </a:lnTo>
                  <a:lnTo>
                    <a:pt x="461" y="1452"/>
                  </a:lnTo>
                  <a:lnTo>
                    <a:pt x="431" y="1448"/>
                  </a:lnTo>
                  <a:lnTo>
                    <a:pt x="404" y="1462"/>
                  </a:lnTo>
                  <a:lnTo>
                    <a:pt x="385" y="1471"/>
                  </a:lnTo>
                  <a:lnTo>
                    <a:pt x="377" y="1451"/>
                  </a:lnTo>
                  <a:lnTo>
                    <a:pt x="362" y="1430"/>
                  </a:lnTo>
                  <a:lnTo>
                    <a:pt x="403" y="1428"/>
                  </a:lnTo>
                  <a:lnTo>
                    <a:pt x="399" y="1414"/>
                  </a:lnTo>
                  <a:lnTo>
                    <a:pt x="389" y="1405"/>
                  </a:lnTo>
                  <a:lnTo>
                    <a:pt x="377" y="1395"/>
                  </a:lnTo>
                  <a:lnTo>
                    <a:pt x="355" y="1345"/>
                  </a:lnTo>
                  <a:lnTo>
                    <a:pt x="325" y="1318"/>
                  </a:lnTo>
                  <a:lnTo>
                    <a:pt x="294" y="1317"/>
                  </a:lnTo>
                  <a:lnTo>
                    <a:pt x="263" y="1317"/>
                  </a:lnTo>
                  <a:lnTo>
                    <a:pt x="241" y="1301"/>
                  </a:lnTo>
                  <a:lnTo>
                    <a:pt x="220" y="1297"/>
                  </a:lnTo>
                  <a:lnTo>
                    <a:pt x="202" y="1297"/>
                  </a:lnTo>
                  <a:lnTo>
                    <a:pt x="191" y="1311"/>
                  </a:lnTo>
                  <a:lnTo>
                    <a:pt x="169" y="1333"/>
                  </a:lnTo>
                  <a:lnTo>
                    <a:pt x="166" y="1353"/>
                  </a:lnTo>
                  <a:lnTo>
                    <a:pt x="157" y="1359"/>
                  </a:lnTo>
                  <a:lnTo>
                    <a:pt x="144" y="1394"/>
                  </a:lnTo>
                  <a:lnTo>
                    <a:pt x="136" y="1384"/>
                  </a:lnTo>
                  <a:lnTo>
                    <a:pt x="132" y="1370"/>
                  </a:lnTo>
                  <a:lnTo>
                    <a:pt x="0" y="1351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" name="Freeform 5"/>
            <p:cNvSpPr>
              <a:spLocks noChangeAspect="1"/>
            </p:cNvSpPr>
            <p:nvPr/>
          </p:nvSpPr>
          <p:spPr bwMode="gray">
            <a:xfrm>
              <a:off x="8956861" y="2081678"/>
              <a:ext cx="79635" cy="26545"/>
            </a:xfrm>
            <a:custGeom>
              <a:avLst/>
              <a:gdLst>
                <a:gd name="T0" fmla="*/ 0 w 107"/>
                <a:gd name="T1" fmla="*/ 0 h 33"/>
                <a:gd name="T2" fmla="*/ 2 w 107"/>
                <a:gd name="T3" fmla="*/ 0 h 33"/>
                <a:gd name="T4" fmla="*/ 3 w 107"/>
                <a:gd name="T5" fmla="*/ 0 h 33"/>
                <a:gd name="T6" fmla="*/ 2 w 107"/>
                <a:gd name="T7" fmla="*/ 1 h 33"/>
                <a:gd name="T8" fmla="*/ 0 w 107"/>
                <a:gd name="T9" fmla="*/ 0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7"/>
                <a:gd name="T16" fmla="*/ 0 h 33"/>
                <a:gd name="T17" fmla="*/ 107 w 107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7" h="33">
                  <a:moveTo>
                    <a:pt x="0" y="10"/>
                  </a:moveTo>
                  <a:lnTo>
                    <a:pt x="65" y="0"/>
                  </a:lnTo>
                  <a:lnTo>
                    <a:pt x="107" y="16"/>
                  </a:lnTo>
                  <a:lnTo>
                    <a:pt x="85" y="33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" name="Freeform 6"/>
            <p:cNvSpPr>
              <a:spLocks noChangeAspect="1"/>
            </p:cNvSpPr>
            <p:nvPr/>
          </p:nvSpPr>
          <p:spPr bwMode="gray">
            <a:xfrm>
              <a:off x="69892" y="1685162"/>
              <a:ext cx="744282" cy="781419"/>
            </a:xfrm>
            <a:custGeom>
              <a:avLst/>
              <a:gdLst>
                <a:gd name="T0" fmla="*/ 1 w 1035"/>
                <a:gd name="T1" fmla="*/ 33 h 903"/>
                <a:gd name="T2" fmla="*/ 1 w 1035"/>
                <a:gd name="T3" fmla="*/ 37 h 903"/>
                <a:gd name="T4" fmla="*/ 4 w 1035"/>
                <a:gd name="T5" fmla="*/ 39 h 903"/>
                <a:gd name="T6" fmla="*/ 4 w 1035"/>
                <a:gd name="T7" fmla="*/ 37 h 903"/>
                <a:gd name="T8" fmla="*/ 2 w 1035"/>
                <a:gd name="T9" fmla="*/ 47 h 903"/>
                <a:gd name="T10" fmla="*/ 2 w 1035"/>
                <a:gd name="T11" fmla="*/ 51 h 903"/>
                <a:gd name="T12" fmla="*/ 2 w 1035"/>
                <a:gd name="T13" fmla="*/ 54 h 903"/>
                <a:gd name="T14" fmla="*/ 2 w 1035"/>
                <a:gd name="T15" fmla="*/ 58 h 903"/>
                <a:gd name="T16" fmla="*/ 3 w 1035"/>
                <a:gd name="T17" fmla="*/ 61 h 903"/>
                <a:gd name="T18" fmla="*/ 4 w 1035"/>
                <a:gd name="T19" fmla="*/ 58 h 903"/>
                <a:gd name="T20" fmla="*/ 4 w 1035"/>
                <a:gd name="T21" fmla="*/ 66 h 903"/>
                <a:gd name="T22" fmla="*/ 6 w 1035"/>
                <a:gd name="T23" fmla="*/ 66 h 903"/>
                <a:gd name="T24" fmla="*/ 7 w 1035"/>
                <a:gd name="T25" fmla="*/ 66 h 903"/>
                <a:gd name="T26" fmla="*/ 6 w 1035"/>
                <a:gd name="T27" fmla="*/ 74 h 903"/>
                <a:gd name="T28" fmla="*/ 5 w 1035"/>
                <a:gd name="T29" fmla="*/ 78 h 903"/>
                <a:gd name="T30" fmla="*/ 3 w 1035"/>
                <a:gd name="T31" fmla="*/ 83 h 903"/>
                <a:gd name="T32" fmla="*/ 6 w 1035"/>
                <a:gd name="T33" fmla="*/ 79 h 903"/>
                <a:gd name="T34" fmla="*/ 6 w 1035"/>
                <a:gd name="T35" fmla="*/ 75 h 903"/>
                <a:gd name="T36" fmla="*/ 9 w 1035"/>
                <a:gd name="T37" fmla="*/ 67 h 903"/>
                <a:gd name="T38" fmla="*/ 9 w 1035"/>
                <a:gd name="T39" fmla="*/ 62 h 903"/>
                <a:gd name="T40" fmla="*/ 12 w 1035"/>
                <a:gd name="T41" fmla="*/ 48 h 903"/>
                <a:gd name="T42" fmla="*/ 12 w 1035"/>
                <a:gd name="T43" fmla="*/ 52 h 903"/>
                <a:gd name="T44" fmla="*/ 12 w 1035"/>
                <a:gd name="T45" fmla="*/ 55 h 903"/>
                <a:gd name="T46" fmla="*/ 11 w 1035"/>
                <a:gd name="T47" fmla="*/ 60 h 903"/>
                <a:gd name="T48" fmla="*/ 11 w 1035"/>
                <a:gd name="T49" fmla="*/ 63 h 903"/>
                <a:gd name="T50" fmla="*/ 13 w 1035"/>
                <a:gd name="T51" fmla="*/ 56 h 903"/>
                <a:gd name="T52" fmla="*/ 13 w 1035"/>
                <a:gd name="T53" fmla="*/ 53 h 903"/>
                <a:gd name="T54" fmla="*/ 14 w 1035"/>
                <a:gd name="T55" fmla="*/ 54 h 903"/>
                <a:gd name="T56" fmla="*/ 15 w 1035"/>
                <a:gd name="T57" fmla="*/ 59 h 903"/>
                <a:gd name="T58" fmla="*/ 18 w 1035"/>
                <a:gd name="T59" fmla="*/ 59 h 903"/>
                <a:gd name="T60" fmla="*/ 18 w 1035"/>
                <a:gd name="T61" fmla="*/ 62 h 903"/>
                <a:gd name="T62" fmla="*/ 20 w 1035"/>
                <a:gd name="T63" fmla="*/ 62 h 903"/>
                <a:gd name="T64" fmla="*/ 18 w 1035"/>
                <a:gd name="T65" fmla="*/ 58 h 903"/>
                <a:gd name="T66" fmla="*/ 11 w 1035"/>
                <a:gd name="T67" fmla="*/ 5 h 903"/>
                <a:gd name="T68" fmla="*/ 8 w 1035"/>
                <a:gd name="T69" fmla="*/ 2 h 903"/>
                <a:gd name="T70" fmla="*/ 8 w 1035"/>
                <a:gd name="T71" fmla="*/ 3 h 903"/>
                <a:gd name="T72" fmla="*/ 8 w 1035"/>
                <a:gd name="T73" fmla="*/ 0 h 903"/>
                <a:gd name="T74" fmla="*/ 5 w 1035"/>
                <a:gd name="T75" fmla="*/ 4 h 903"/>
                <a:gd name="T76" fmla="*/ 5 w 1035"/>
                <a:gd name="T77" fmla="*/ 5 h 903"/>
                <a:gd name="T78" fmla="*/ 4 w 1035"/>
                <a:gd name="T79" fmla="*/ 8 h 903"/>
                <a:gd name="T80" fmla="*/ 3 w 1035"/>
                <a:gd name="T81" fmla="*/ 13 h 903"/>
                <a:gd name="T82" fmla="*/ 1 w 1035"/>
                <a:gd name="T83" fmla="*/ 16 h 903"/>
                <a:gd name="T84" fmla="*/ 3 w 1035"/>
                <a:gd name="T85" fmla="*/ 23 h 903"/>
                <a:gd name="T86" fmla="*/ 4 w 1035"/>
                <a:gd name="T87" fmla="*/ 26 h 903"/>
                <a:gd name="T88" fmla="*/ 5 w 1035"/>
                <a:gd name="T89" fmla="*/ 28 h 903"/>
                <a:gd name="T90" fmla="*/ 3 w 1035"/>
                <a:gd name="T91" fmla="*/ 29 h 903"/>
                <a:gd name="T92" fmla="*/ 2 w 1035"/>
                <a:gd name="T93" fmla="*/ 27 h 90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35"/>
                <a:gd name="T142" fmla="*/ 0 h 903"/>
                <a:gd name="T143" fmla="*/ 1035 w 1035"/>
                <a:gd name="T144" fmla="*/ 903 h 90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35" h="903">
                  <a:moveTo>
                    <a:pt x="0" y="345"/>
                  </a:moveTo>
                  <a:lnTo>
                    <a:pt x="65" y="362"/>
                  </a:lnTo>
                  <a:lnTo>
                    <a:pt x="39" y="369"/>
                  </a:lnTo>
                  <a:lnTo>
                    <a:pt x="67" y="402"/>
                  </a:lnTo>
                  <a:lnTo>
                    <a:pt x="171" y="399"/>
                  </a:lnTo>
                  <a:lnTo>
                    <a:pt x="186" y="421"/>
                  </a:lnTo>
                  <a:lnTo>
                    <a:pt x="252" y="394"/>
                  </a:lnTo>
                  <a:lnTo>
                    <a:pt x="229" y="405"/>
                  </a:lnTo>
                  <a:lnTo>
                    <a:pt x="242" y="460"/>
                  </a:lnTo>
                  <a:lnTo>
                    <a:pt x="100" y="512"/>
                  </a:lnTo>
                  <a:lnTo>
                    <a:pt x="62" y="570"/>
                  </a:lnTo>
                  <a:lnTo>
                    <a:pt x="97" y="561"/>
                  </a:lnTo>
                  <a:lnTo>
                    <a:pt x="71" y="576"/>
                  </a:lnTo>
                  <a:lnTo>
                    <a:pt x="97" y="596"/>
                  </a:lnTo>
                  <a:lnTo>
                    <a:pt x="149" y="603"/>
                  </a:lnTo>
                  <a:lnTo>
                    <a:pt x="119" y="634"/>
                  </a:lnTo>
                  <a:lnTo>
                    <a:pt x="143" y="663"/>
                  </a:lnTo>
                  <a:lnTo>
                    <a:pt x="171" y="667"/>
                  </a:lnTo>
                  <a:lnTo>
                    <a:pt x="226" y="603"/>
                  </a:lnTo>
                  <a:lnTo>
                    <a:pt x="192" y="634"/>
                  </a:lnTo>
                  <a:lnTo>
                    <a:pt x="220" y="693"/>
                  </a:lnTo>
                  <a:lnTo>
                    <a:pt x="207" y="718"/>
                  </a:lnTo>
                  <a:lnTo>
                    <a:pt x="270" y="684"/>
                  </a:lnTo>
                  <a:lnTo>
                    <a:pt x="313" y="726"/>
                  </a:lnTo>
                  <a:lnTo>
                    <a:pt x="328" y="701"/>
                  </a:lnTo>
                  <a:lnTo>
                    <a:pt x="342" y="718"/>
                  </a:lnTo>
                  <a:lnTo>
                    <a:pt x="390" y="695"/>
                  </a:lnTo>
                  <a:lnTo>
                    <a:pt x="324" y="807"/>
                  </a:lnTo>
                  <a:lnTo>
                    <a:pt x="273" y="830"/>
                  </a:lnTo>
                  <a:lnTo>
                    <a:pt x="270" y="855"/>
                  </a:lnTo>
                  <a:lnTo>
                    <a:pt x="207" y="856"/>
                  </a:lnTo>
                  <a:lnTo>
                    <a:pt x="160" y="903"/>
                  </a:lnTo>
                  <a:lnTo>
                    <a:pt x="220" y="867"/>
                  </a:lnTo>
                  <a:lnTo>
                    <a:pt x="287" y="870"/>
                  </a:lnTo>
                  <a:lnTo>
                    <a:pt x="325" y="841"/>
                  </a:lnTo>
                  <a:lnTo>
                    <a:pt x="308" y="819"/>
                  </a:lnTo>
                  <a:lnTo>
                    <a:pt x="350" y="823"/>
                  </a:lnTo>
                  <a:lnTo>
                    <a:pt x="481" y="737"/>
                  </a:lnTo>
                  <a:lnTo>
                    <a:pt x="506" y="706"/>
                  </a:lnTo>
                  <a:lnTo>
                    <a:pt x="482" y="682"/>
                  </a:lnTo>
                  <a:lnTo>
                    <a:pt x="597" y="578"/>
                  </a:lnTo>
                  <a:lnTo>
                    <a:pt x="614" y="527"/>
                  </a:lnTo>
                  <a:lnTo>
                    <a:pt x="601" y="578"/>
                  </a:lnTo>
                  <a:lnTo>
                    <a:pt x="647" y="569"/>
                  </a:lnTo>
                  <a:lnTo>
                    <a:pt x="623" y="591"/>
                  </a:lnTo>
                  <a:lnTo>
                    <a:pt x="658" y="602"/>
                  </a:lnTo>
                  <a:lnTo>
                    <a:pt x="575" y="609"/>
                  </a:lnTo>
                  <a:lnTo>
                    <a:pt x="559" y="658"/>
                  </a:lnTo>
                  <a:lnTo>
                    <a:pt x="590" y="657"/>
                  </a:lnTo>
                  <a:lnTo>
                    <a:pt x="563" y="691"/>
                  </a:lnTo>
                  <a:lnTo>
                    <a:pt x="673" y="646"/>
                  </a:lnTo>
                  <a:lnTo>
                    <a:pt x="689" y="619"/>
                  </a:lnTo>
                  <a:lnTo>
                    <a:pt x="671" y="607"/>
                  </a:lnTo>
                  <a:lnTo>
                    <a:pt x="697" y="581"/>
                  </a:lnTo>
                  <a:lnTo>
                    <a:pt x="692" y="602"/>
                  </a:lnTo>
                  <a:lnTo>
                    <a:pt x="749" y="589"/>
                  </a:lnTo>
                  <a:lnTo>
                    <a:pt x="736" y="610"/>
                  </a:lnTo>
                  <a:lnTo>
                    <a:pt x="828" y="646"/>
                  </a:lnTo>
                  <a:lnTo>
                    <a:pt x="961" y="663"/>
                  </a:lnTo>
                  <a:lnTo>
                    <a:pt x="983" y="643"/>
                  </a:lnTo>
                  <a:lnTo>
                    <a:pt x="1003" y="653"/>
                  </a:lnTo>
                  <a:lnTo>
                    <a:pt x="978" y="674"/>
                  </a:lnTo>
                  <a:lnTo>
                    <a:pt x="1016" y="693"/>
                  </a:lnTo>
                  <a:lnTo>
                    <a:pt x="1035" y="678"/>
                  </a:lnTo>
                  <a:lnTo>
                    <a:pt x="1000" y="634"/>
                  </a:lnTo>
                  <a:lnTo>
                    <a:pt x="937" y="634"/>
                  </a:lnTo>
                  <a:lnTo>
                    <a:pt x="937" y="103"/>
                  </a:lnTo>
                  <a:lnTo>
                    <a:pt x="565" y="60"/>
                  </a:lnTo>
                  <a:lnTo>
                    <a:pt x="550" y="34"/>
                  </a:lnTo>
                  <a:lnTo>
                    <a:pt x="448" y="17"/>
                  </a:lnTo>
                  <a:lnTo>
                    <a:pt x="437" y="39"/>
                  </a:lnTo>
                  <a:lnTo>
                    <a:pt x="406" y="33"/>
                  </a:lnTo>
                  <a:lnTo>
                    <a:pt x="435" y="15"/>
                  </a:lnTo>
                  <a:lnTo>
                    <a:pt x="393" y="0"/>
                  </a:lnTo>
                  <a:lnTo>
                    <a:pt x="351" y="34"/>
                  </a:lnTo>
                  <a:lnTo>
                    <a:pt x="284" y="39"/>
                  </a:lnTo>
                  <a:lnTo>
                    <a:pt x="281" y="70"/>
                  </a:lnTo>
                  <a:lnTo>
                    <a:pt x="274" y="51"/>
                  </a:lnTo>
                  <a:lnTo>
                    <a:pt x="210" y="69"/>
                  </a:lnTo>
                  <a:lnTo>
                    <a:pt x="220" y="93"/>
                  </a:lnTo>
                  <a:lnTo>
                    <a:pt x="192" y="86"/>
                  </a:lnTo>
                  <a:lnTo>
                    <a:pt x="154" y="136"/>
                  </a:lnTo>
                  <a:lnTo>
                    <a:pt x="62" y="157"/>
                  </a:lnTo>
                  <a:lnTo>
                    <a:pt x="67" y="179"/>
                  </a:lnTo>
                  <a:lnTo>
                    <a:pt x="40" y="185"/>
                  </a:lnTo>
                  <a:lnTo>
                    <a:pt x="150" y="259"/>
                  </a:lnTo>
                  <a:lnTo>
                    <a:pt x="296" y="295"/>
                  </a:lnTo>
                  <a:lnTo>
                    <a:pt x="207" y="285"/>
                  </a:lnTo>
                  <a:lnTo>
                    <a:pt x="210" y="306"/>
                  </a:lnTo>
                  <a:lnTo>
                    <a:pt x="246" y="307"/>
                  </a:lnTo>
                  <a:lnTo>
                    <a:pt x="216" y="323"/>
                  </a:lnTo>
                  <a:lnTo>
                    <a:pt x="150" y="319"/>
                  </a:lnTo>
                  <a:lnTo>
                    <a:pt x="150" y="287"/>
                  </a:lnTo>
                  <a:lnTo>
                    <a:pt x="116" y="290"/>
                  </a:lnTo>
                  <a:lnTo>
                    <a:pt x="0" y="34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" name="Freeform 7"/>
            <p:cNvSpPr>
              <a:spLocks noChangeAspect="1"/>
            </p:cNvSpPr>
            <p:nvPr/>
          </p:nvSpPr>
          <p:spPr bwMode="gray">
            <a:xfrm>
              <a:off x="2576866" y="3732447"/>
              <a:ext cx="38286" cy="16591"/>
            </a:xfrm>
            <a:custGeom>
              <a:avLst/>
              <a:gdLst>
                <a:gd name="T0" fmla="*/ 0 w 52"/>
                <a:gd name="T1" fmla="*/ 0 h 17"/>
                <a:gd name="T2" fmla="*/ 0 w 52"/>
                <a:gd name="T3" fmla="*/ 9 h 17"/>
                <a:gd name="T4" fmla="*/ 1 w 52"/>
                <a:gd name="T5" fmla="*/ 5 h 17"/>
                <a:gd name="T6" fmla="*/ 0 w 52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2"/>
                <a:gd name="T13" fmla="*/ 0 h 17"/>
                <a:gd name="T14" fmla="*/ 52 w 52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2" h="17">
                  <a:moveTo>
                    <a:pt x="0" y="0"/>
                  </a:moveTo>
                  <a:lnTo>
                    <a:pt x="4" y="17"/>
                  </a:lnTo>
                  <a:lnTo>
                    <a:pt x="52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" name="Freeform 8"/>
            <p:cNvSpPr>
              <a:spLocks noChangeAspect="1"/>
            </p:cNvSpPr>
            <p:nvPr/>
          </p:nvSpPr>
          <p:spPr bwMode="gray">
            <a:xfrm>
              <a:off x="5774521" y="3085412"/>
              <a:ext cx="352232" cy="305268"/>
            </a:xfrm>
            <a:custGeom>
              <a:avLst/>
              <a:gdLst>
                <a:gd name="T0" fmla="*/ 0 w 490"/>
                <a:gd name="T1" fmla="*/ 16 h 351"/>
                <a:gd name="T2" fmla="*/ 0 w 490"/>
                <a:gd name="T3" fmla="*/ 26 h 351"/>
                <a:gd name="T4" fmla="*/ 0 w 490"/>
                <a:gd name="T5" fmla="*/ 28 h 351"/>
                <a:gd name="T6" fmla="*/ 0 w 490"/>
                <a:gd name="T7" fmla="*/ 33 h 351"/>
                <a:gd name="T8" fmla="*/ 1 w 490"/>
                <a:gd name="T9" fmla="*/ 35 h 351"/>
                <a:gd name="T10" fmla="*/ 4 w 490"/>
                <a:gd name="T11" fmla="*/ 33 h 351"/>
                <a:gd name="T12" fmla="*/ 4 w 490"/>
                <a:gd name="T13" fmla="*/ 28 h 351"/>
                <a:gd name="T14" fmla="*/ 6 w 490"/>
                <a:gd name="T15" fmla="*/ 25 h 351"/>
                <a:gd name="T16" fmla="*/ 6 w 490"/>
                <a:gd name="T17" fmla="*/ 20 h 351"/>
                <a:gd name="T18" fmla="*/ 7 w 490"/>
                <a:gd name="T19" fmla="*/ 19 h 351"/>
                <a:gd name="T20" fmla="*/ 6 w 490"/>
                <a:gd name="T21" fmla="*/ 17 h 351"/>
                <a:gd name="T22" fmla="*/ 7 w 490"/>
                <a:gd name="T23" fmla="*/ 17 h 351"/>
                <a:gd name="T24" fmla="*/ 7 w 490"/>
                <a:gd name="T25" fmla="*/ 13 h 351"/>
                <a:gd name="T26" fmla="*/ 7 w 490"/>
                <a:gd name="T27" fmla="*/ 8 h 351"/>
                <a:gd name="T28" fmla="*/ 9 w 490"/>
                <a:gd name="T29" fmla="*/ 5 h 351"/>
                <a:gd name="T30" fmla="*/ 9 w 490"/>
                <a:gd name="T31" fmla="*/ 5 h 351"/>
                <a:gd name="T32" fmla="*/ 8 w 490"/>
                <a:gd name="T33" fmla="*/ 4 h 351"/>
                <a:gd name="T34" fmla="*/ 7 w 490"/>
                <a:gd name="T35" fmla="*/ 7 h 351"/>
                <a:gd name="T36" fmla="*/ 7 w 490"/>
                <a:gd name="T37" fmla="*/ 0 h 351"/>
                <a:gd name="T38" fmla="*/ 6 w 490"/>
                <a:gd name="T39" fmla="*/ 5 h 351"/>
                <a:gd name="T40" fmla="*/ 3 w 490"/>
                <a:gd name="T41" fmla="*/ 5 h 351"/>
                <a:gd name="T42" fmla="*/ 1 w 490"/>
                <a:gd name="T43" fmla="*/ 13 h 351"/>
                <a:gd name="T44" fmla="*/ 0 w 490"/>
                <a:gd name="T45" fmla="*/ 10 h 351"/>
                <a:gd name="T46" fmla="*/ 0 w 490"/>
                <a:gd name="T47" fmla="*/ 16 h 3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90"/>
                <a:gd name="T73" fmla="*/ 0 h 351"/>
                <a:gd name="T74" fmla="*/ 490 w 490"/>
                <a:gd name="T75" fmla="*/ 351 h 35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90" h="351">
                  <a:moveTo>
                    <a:pt x="0" y="168"/>
                  </a:moveTo>
                  <a:lnTo>
                    <a:pt x="3" y="259"/>
                  </a:lnTo>
                  <a:lnTo>
                    <a:pt x="40" y="287"/>
                  </a:lnTo>
                  <a:lnTo>
                    <a:pt x="11" y="333"/>
                  </a:lnTo>
                  <a:lnTo>
                    <a:pt x="66" y="351"/>
                  </a:lnTo>
                  <a:lnTo>
                    <a:pt x="193" y="333"/>
                  </a:lnTo>
                  <a:lnTo>
                    <a:pt x="217" y="282"/>
                  </a:lnTo>
                  <a:lnTo>
                    <a:pt x="303" y="254"/>
                  </a:lnTo>
                  <a:lnTo>
                    <a:pt x="311" y="211"/>
                  </a:lnTo>
                  <a:lnTo>
                    <a:pt x="340" y="199"/>
                  </a:lnTo>
                  <a:lnTo>
                    <a:pt x="327" y="177"/>
                  </a:lnTo>
                  <a:lnTo>
                    <a:pt x="358" y="174"/>
                  </a:lnTo>
                  <a:lnTo>
                    <a:pt x="381" y="130"/>
                  </a:lnTo>
                  <a:lnTo>
                    <a:pt x="371" y="88"/>
                  </a:lnTo>
                  <a:lnTo>
                    <a:pt x="486" y="56"/>
                  </a:lnTo>
                  <a:lnTo>
                    <a:pt x="490" y="47"/>
                  </a:lnTo>
                  <a:lnTo>
                    <a:pt x="447" y="39"/>
                  </a:lnTo>
                  <a:lnTo>
                    <a:pt x="385" y="69"/>
                  </a:lnTo>
                  <a:lnTo>
                    <a:pt x="357" y="0"/>
                  </a:lnTo>
                  <a:lnTo>
                    <a:pt x="304" y="52"/>
                  </a:lnTo>
                  <a:lnTo>
                    <a:pt x="152" y="47"/>
                  </a:lnTo>
                  <a:lnTo>
                    <a:pt x="75" y="128"/>
                  </a:lnTo>
                  <a:lnTo>
                    <a:pt x="24" y="102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" name="Freeform 9"/>
            <p:cNvSpPr>
              <a:spLocks noChangeAspect="1"/>
            </p:cNvSpPr>
            <p:nvPr/>
          </p:nvSpPr>
          <p:spPr bwMode="gray">
            <a:xfrm>
              <a:off x="4740796" y="2941074"/>
              <a:ext cx="42880" cy="102862"/>
            </a:xfrm>
            <a:custGeom>
              <a:avLst/>
              <a:gdLst>
                <a:gd name="T0" fmla="*/ 0 w 62"/>
                <a:gd name="T1" fmla="*/ 8 h 119"/>
                <a:gd name="T2" fmla="*/ 0 w 62"/>
                <a:gd name="T3" fmla="*/ 3 h 119"/>
                <a:gd name="T4" fmla="*/ 0 w 62"/>
                <a:gd name="T5" fmla="*/ 0 h 119"/>
                <a:gd name="T6" fmla="*/ 0 w 62"/>
                <a:gd name="T7" fmla="*/ 6 h 119"/>
                <a:gd name="T8" fmla="*/ 0 w 62"/>
                <a:gd name="T9" fmla="*/ 11 h 119"/>
                <a:gd name="T10" fmla="*/ 0 w 62"/>
                <a:gd name="T11" fmla="*/ 8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2"/>
                <a:gd name="T19" fmla="*/ 0 h 119"/>
                <a:gd name="T20" fmla="*/ 62 w 62"/>
                <a:gd name="T21" fmla="*/ 119 h 1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2" h="119">
                  <a:moveTo>
                    <a:pt x="0" y="90"/>
                  </a:moveTo>
                  <a:lnTo>
                    <a:pt x="2" y="28"/>
                  </a:lnTo>
                  <a:lnTo>
                    <a:pt x="30" y="0"/>
                  </a:lnTo>
                  <a:lnTo>
                    <a:pt x="62" y="70"/>
                  </a:lnTo>
                  <a:lnTo>
                    <a:pt x="33" y="119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" name="Freeform 10"/>
            <p:cNvSpPr>
              <a:spLocks noChangeAspect="1"/>
            </p:cNvSpPr>
            <p:nvPr/>
          </p:nvSpPr>
          <p:spPr bwMode="gray">
            <a:xfrm>
              <a:off x="4042457" y="3138502"/>
              <a:ext cx="505376" cy="580673"/>
            </a:xfrm>
            <a:custGeom>
              <a:avLst/>
              <a:gdLst>
                <a:gd name="T0" fmla="*/ 0 w 705"/>
                <a:gd name="T1" fmla="*/ 32 h 672"/>
                <a:gd name="T2" fmla="*/ 0 w 705"/>
                <a:gd name="T3" fmla="*/ 33 h 672"/>
                <a:gd name="T4" fmla="*/ 2 w 705"/>
                <a:gd name="T5" fmla="*/ 41 h 672"/>
                <a:gd name="T6" fmla="*/ 7 w 705"/>
                <a:gd name="T7" fmla="*/ 57 h 672"/>
                <a:gd name="T8" fmla="*/ 7 w 705"/>
                <a:gd name="T9" fmla="*/ 60 h 672"/>
                <a:gd name="T10" fmla="*/ 8 w 705"/>
                <a:gd name="T11" fmla="*/ 60 h 672"/>
                <a:gd name="T12" fmla="*/ 9 w 705"/>
                <a:gd name="T13" fmla="*/ 58 h 672"/>
                <a:gd name="T14" fmla="*/ 13 w 705"/>
                <a:gd name="T15" fmla="*/ 46 h 672"/>
                <a:gd name="T16" fmla="*/ 11 w 705"/>
                <a:gd name="T17" fmla="*/ 37 h 672"/>
                <a:gd name="T18" fmla="*/ 11 w 705"/>
                <a:gd name="T19" fmla="*/ 23 h 672"/>
                <a:gd name="T20" fmla="*/ 11 w 705"/>
                <a:gd name="T21" fmla="*/ 17 h 672"/>
                <a:gd name="T22" fmla="*/ 10 w 705"/>
                <a:gd name="T23" fmla="*/ 11 h 672"/>
                <a:gd name="T24" fmla="*/ 10 w 705"/>
                <a:gd name="T25" fmla="*/ 8 h 672"/>
                <a:gd name="T26" fmla="*/ 11 w 705"/>
                <a:gd name="T27" fmla="*/ 0 h 672"/>
                <a:gd name="T28" fmla="*/ 7 w 705"/>
                <a:gd name="T29" fmla="*/ 2 h 672"/>
                <a:gd name="T30" fmla="*/ 4 w 705"/>
                <a:gd name="T31" fmla="*/ 6 h 672"/>
                <a:gd name="T32" fmla="*/ 5 w 705"/>
                <a:gd name="T33" fmla="*/ 17 h 672"/>
                <a:gd name="T34" fmla="*/ 3 w 705"/>
                <a:gd name="T35" fmla="*/ 17 h 672"/>
                <a:gd name="T36" fmla="*/ 3 w 705"/>
                <a:gd name="T37" fmla="*/ 18 h 672"/>
                <a:gd name="T38" fmla="*/ 3 w 705"/>
                <a:gd name="T39" fmla="*/ 21 h 672"/>
                <a:gd name="T40" fmla="*/ 0 w 705"/>
                <a:gd name="T41" fmla="*/ 27 h 672"/>
                <a:gd name="T42" fmla="*/ 0 w 705"/>
                <a:gd name="T43" fmla="*/ 32 h 67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05"/>
                <a:gd name="T67" fmla="*/ 0 h 672"/>
                <a:gd name="T68" fmla="*/ 705 w 705"/>
                <a:gd name="T69" fmla="*/ 672 h 67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05" h="672">
                  <a:moveTo>
                    <a:pt x="0" y="359"/>
                  </a:moveTo>
                  <a:lnTo>
                    <a:pt x="3" y="372"/>
                  </a:lnTo>
                  <a:lnTo>
                    <a:pt x="131" y="455"/>
                  </a:lnTo>
                  <a:lnTo>
                    <a:pt x="410" y="640"/>
                  </a:lnTo>
                  <a:lnTo>
                    <a:pt x="413" y="672"/>
                  </a:lnTo>
                  <a:lnTo>
                    <a:pt x="441" y="667"/>
                  </a:lnTo>
                  <a:lnTo>
                    <a:pt x="495" y="654"/>
                  </a:lnTo>
                  <a:lnTo>
                    <a:pt x="705" y="509"/>
                  </a:lnTo>
                  <a:lnTo>
                    <a:pt x="623" y="413"/>
                  </a:lnTo>
                  <a:lnTo>
                    <a:pt x="624" y="258"/>
                  </a:lnTo>
                  <a:lnTo>
                    <a:pt x="614" y="189"/>
                  </a:lnTo>
                  <a:lnTo>
                    <a:pt x="556" y="119"/>
                  </a:lnTo>
                  <a:lnTo>
                    <a:pt x="586" y="95"/>
                  </a:lnTo>
                  <a:lnTo>
                    <a:pt x="601" y="0"/>
                  </a:lnTo>
                  <a:lnTo>
                    <a:pt x="351" y="16"/>
                  </a:lnTo>
                  <a:lnTo>
                    <a:pt x="223" y="71"/>
                  </a:lnTo>
                  <a:lnTo>
                    <a:pt x="256" y="186"/>
                  </a:lnTo>
                  <a:lnTo>
                    <a:pt x="200" y="189"/>
                  </a:lnTo>
                  <a:lnTo>
                    <a:pt x="170" y="201"/>
                  </a:lnTo>
                  <a:lnTo>
                    <a:pt x="175" y="232"/>
                  </a:lnTo>
                  <a:lnTo>
                    <a:pt x="19" y="300"/>
                  </a:lnTo>
                  <a:lnTo>
                    <a:pt x="0" y="35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" name="Freeform 11"/>
            <p:cNvSpPr>
              <a:spLocks noChangeAspect="1"/>
            </p:cNvSpPr>
            <p:nvPr/>
          </p:nvSpPr>
          <p:spPr bwMode="gray">
            <a:xfrm>
              <a:off x="2423721" y="4953519"/>
              <a:ext cx="491593" cy="1056824"/>
            </a:xfrm>
            <a:custGeom>
              <a:avLst/>
              <a:gdLst>
                <a:gd name="T0" fmla="*/ 0 w 683"/>
                <a:gd name="T1" fmla="*/ 101 h 1223"/>
                <a:gd name="T2" fmla="*/ 0 w 683"/>
                <a:gd name="T3" fmla="*/ 104 h 1223"/>
                <a:gd name="T4" fmla="*/ 0 w 683"/>
                <a:gd name="T5" fmla="*/ 103 h 1223"/>
                <a:gd name="T6" fmla="*/ 1 w 683"/>
                <a:gd name="T7" fmla="*/ 108 h 1223"/>
                <a:gd name="T8" fmla="*/ 3 w 683"/>
                <a:gd name="T9" fmla="*/ 109 h 1223"/>
                <a:gd name="T10" fmla="*/ 3 w 683"/>
                <a:gd name="T11" fmla="*/ 107 h 1223"/>
                <a:gd name="T12" fmla="*/ 3 w 683"/>
                <a:gd name="T13" fmla="*/ 99 h 1223"/>
                <a:gd name="T14" fmla="*/ 4 w 683"/>
                <a:gd name="T15" fmla="*/ 101 h 1223"/>
                <a:gd name="T16" fmla="*/ 5 w 683"/>
                <a:gd name="T17" fmla="*/ 90 h 1223"/>
                <a:gd name="T18" fmla="*/ 4 w 683"/>
                <a:gd name="T19" fmla="*/ 84 h 1223"/>
                <a:gd name="T20" fmla="*/ 5 w 683"/>
                <a:gd name="T21" fmla="*/ 81 h 1223"/>
                <a:gd name="T22" fmla="*/ 5 w 683"/>
                <a:gd name="T23" fmla="*/ 76 h 1223"/>
                <a:gd name="T24" fmla="*/ 6 w 683"/>
                <a:gd name="T25" fmla="*/ 73 h 1223"/>
                <a:gd name="T26" fmla="*/ 6 w 683"/>
                <a:gd name="T27" fmla="*/ 72 h 1223"/>
                <a:gd name="T28" fmla="*/ 7 w 683"/>
                <a:gd name="T29" fmla="*/ 72 h 1223"/>
                <a:gd name="T30" fmla="*/ 7 w 683"/>
                <a:gd name="T31" fmla="*/ 69 h 1223"/>
                <a:gd name="T32" fmla="*/ 6 w 683"/>
                <a:gd name="T33" fmla="*/ 71 h 1223"/>
                <a:gd name="T34" fmla="*/ 6 w 683"/>
                <a:gd name="T35" fmla="*/ 69 h 1223"/>
                <a:gd name="T36" fmla="*/ 5 w 683"/>
                <a:gd name="T37" fmla="*/ 66 h 1223"/>
                <a:gd name="T38" fmla="*/ 8 w 683"/>
                <a:gd name="T39" fmla="*/ 66 h 1223"/>
                <a:gd name="T40" fmla="*/ 8 w 683"/>
                <a:gd name="T41" fmla="*/ 57 h 1223"/>
                <a:gd name="T42" fmla="*/ 10 w 683"/>
                <a:gd name="T43" fmla="*/ 56 h 1223"/>
                <a:gd name="T44" fmla="*/ 11 w 683"/>
                <a:gd name="T45" fmla="*/ 51 h 1223"/>
                <a:gd name="T46" fmla="*/ 10 w 683"/>
                <a:gd name="T47" fmla="*/ 41 h 1223"/>
                <a:gd name="T48" fmla="*/ 10 w 683"/>
                <a:gd name="T49" fmla="*/ 28 h 1223"/>
                <a:gd name="T50" fmla="*/ 13 w 683"/>
                <a:gd name="T51" fmla="*/ 17 h 1223"/>
                <a:gd name="T52" fmla="*/ 13 w 683"/>
                <a:gd name="T53" fmla="*/ 13 h 1223"/>
                <a:gd name="T54" fmla="*/ 12 w 683"/>
                <a:gd name="T55" fmla="*/ 13 h 1223"/>
                <a:gd name="T56" fmla="*/ 12 w 683"/>
                <a:gd name="T57" fmla="*/ 18 h 1223"/>
                <a:gd name="T58" fmla="*/ 10 w 683"/>
                <a:gd name="T59" fmla="*/ 18 h 1223"/>
                <a:gd name="T60" fmla="*/ 10 w 683"/>
                <a:gd name="T61" fmla="*/ 11 h 1223"/>
                <a:gd name="T62" fmla="*/ 7 w 683"/>
                <a:gd name="T63" fmla="*/ 2 h 1223"/>
                <a:gd name="T64" fmla="*/ 6 w 683"/>
                <a:gd name="T65" fmla="*/ 1 h 1223"/>
                <a:gd name="T66" fmla="*/ 6 w 683"/>
                <a:gd name="T67" fmla="*/ 3 h 1223"/>
                <a:gd name="T68" fmla="*/ 5 w 683"/>
                <a:gd name="T69" fmla="*/ 0 h 1223"/>
                <a:gd name="T70" fmla="*/ 4 w 683"/>
                <a:gd name="T71" fmla="*/ 4 h 1223"/>
                <a:gd name="T72" fmla="*/ 4 w 683"/>
                <a:gd name="T73" fmla="*/ 8 h 1223"/>
                <a:gd name="T74" fmla="*/ 3 w 683"/>
                <a:gd name="T75" fmla="*/ 9 h 1223"/>
                <a:gd name="T76" fmla="*/ 3 w 683"/>
                <a:gd name="T77" fmla="*/ 17 h 1223"/>
                <a:gd name="T78" fmla="*/ 2 w 683"/>
                <a:gd name="T79" fmla="*/ 21 h 1223"/>
                <a:gd name="T80" fmla="*/ 2 w 683"/>
                <a:gd name="T81" fmla="*/ 31 h 1223"/>
                <a:gd name="T82" fmla="*/ 2 w 683"/>
                <a:gd name="T83" fmla="*/ 42 h 1223"/>
                <a:gd name="T84" fmla="*/ 1 w 683"/>
                <a:gd name="T85" fmla="*/ 50 h 1223"/>
                <a:gd name="T86" fmla="*/ 1 w 683"/>
                <a:gd name="T87" fmla="*/ 71 h 1223"/>
                <a:gd name="T88" fmla="*/ 1 w 683"/>
                <a:gd name="T89" fmla="*/ 79 h 1223"/>
                <a:gd name="T90" fmla="*/ 1 w 683"/>
                <a:gd name="T91" fmla="*/ 80 h 1223"/>
                <a:gd name="T92" fmla="*/ 1 w 683"/>
                <a:gd name="T93" fmla="*/ 86 h 1223"/>
                <a:gd name="T94" fmla="*/ 0 w 683"/>
                <a:gd name="T95" fmla="*/ 101 h 122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83"/>
                <a:gd name="T145" fmla="*/ 0 h 1223"/>
                <a:gd name="T146" fmla="*/ 683 w 683"/>
                <a:gd name="T147" fmla="*/ 1223 h 122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83" h="1223">
                  <a:moveTo>
                    <a:pt x="0" y="1131"/>
                  </a:moveTo>
                  <a:lnTo>
                    <a:pt x="5" y="1158"/>
                  </a:lnTo>
                  <a:lnTo>
                    <a:pt x="35" y="1148"/>
                  </a:lnTo>
                  <a:lnTo>
                    <a:pt x="46" y="1210"/>
                  </a:lnTo>
                  <a:lnTo>
                    <a:pt x="172" y="1223"/>
                  </a:lnTo>
                  <a:lnTo>
                    <a:pt x="137" y="1192"/>
                  </a:lnTo>
                  <a:lnTo>
                    <a:pt x="163" y="1109"/>
                  </a:lnTo>
                  <a:lnTo>
                    <a:pt x="188" y="1125"/>
                  </a:lnTo>
                  <a:lnTo>
                    <a:pt x="266" y="1009"/>
                  </a:lnTo>
                  <a:lnTo>
                    <a:pt x="205" y="942"/>
                  </a:lnTo>
                  <a:lnTo>
                    <a:pt x="273" y="903"/>
                  </a:lnTo>
                  <a:lnTo>
                    <a:pt x="283" y="842"/>
                  </a:lnTo>
                  <a:lnTo>
                    <a:pt x="315" y="815"/>
                  </a:lnTo>
                  <a:lnTo>
                    <a:pt x="288" y="804"/>
                  </a:lnTo>
                  <a:lnTo>
                    <a:pt x="339" y="804"/>
                  </a:lnTo>
                  <a:lnTo>
                    <a:pt x="333" y="776"/>
                  </a:lnTo>
                  <a:lnTo>
                    <a:pt x="310" y="796"/>
                  </a:lnTo>
                  <a:lnTo>
                    <a:pt x="288" y="774"/>
                  </a:lnTo>
                  <a:lnTo>
                    <a:pt x="284" y="730"/>
                  </a:lnTo>
                  <a:lnTo>
                    <a:pt x="377" y="735"/>
                  </a:lnTo>
                  <a:lnTo>
                    <a:pt x="386" y="644"/>
                  </a:lnTo>
                  <a:lnTo>
                    <a:pt x="534" y="629"/>
                  </a:lnTo>
                  <a:lnTo>
                    <a:pt x="576" y="567"/>
                  </a:lnTo>
                  <a:lnTo>
                    <a:pt x="518" y="455"/>
                  </a:lnTo>
                  <a:lnTo>
                    <a:pt x="547" y="311"/>
                  </a:lnTo>
                  <a:lnTo>
                    <a:pt x="683" y="194"/>
                  </a:lnTo>
                  <a:lnTo>
                    <a:pt x="678" y="141"/>
                  </a:lnTo>
                  <a:lnTo>
                    <a:pt x="650" y="140"/>
                  </a:lnTo>
                  <a:lnTo>
                    <a:pt x="614" y="203"/>
                  </a:lnTo>
                  <a:lnTo>
                    <a:pt x="520" y="198"/>
                  </a:lnTo>
                  <a:lnTo>
                    <a:pt x="540" y="128"/>
                  </a:lnTo>
                  <a:lnTo>
                    <a:pt x="373" y="18"/>
                  </a:lnTo>
                  <a:lnTo>
                    <a:pt x="317" y="9"/>
                  </a:lnTo>
                  <a:lnTo>
                    <a:pt x="314" y="33"/>
                  </a:lnTo>
                  <a:lnTo>
                    <a:pt x="249" y="0"/>
                  </a:lnTo>
                  <a:lnTo>
                    <a:pt x="212" y="40"/>
                  </a:lnTo>
                  <a:lnTo>
                    <a:pt x="208" y="83"/>
                  </a:lnTo>
                  <a:lnTo>
                    <a:pt x="170" y="101"/>
                  </a:lnTo>
                  <a:lnTo>
                    <a:pt x="172" y="185"/>
                  </a:lnTo>
                  <a:lnTo>
                    <a:pt x="130" y="232"/>
                  </a:lnTo>
                  <a:lnTo>
                    <a:pt x="97" y="351"/>
                  </a:lnTo>
                  <a:lnTo>
                    <a:pt x="122" y="464"/>
                  </a:lnTo>
                  <a:lnTo>
                    <a:pt x="77" y="560"/>
                  </a:lnTo>
                  <a:lnTo>
                    <a:pt x="46" y="798"/>
                  </a:lnTo>
                  <a:lnTo>
                    <a:pt x="70" y="885"/>
                  </a:lnTo>
                  <a:lnTo>
                    <a:pt x="47" y="892"/>
                  </a:lnTo>
                  <a:lnTo>
                    <a:pt x="59" y="969"/>
                  </a:lnTo>
                  <a:lnTo>
                    <a:pt x="0" y="1131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" name="Freeform 13"/>
            <p:cNvSpPr>
              <a:spLocks noChangeAspect="1"/>
            </p:cNvSpPr>
            <p:nvPr/>
          </p:nvSpPr>
          <p:spPr bwMode="gray">
            <a:xfrm>
              <a:off x="7085436" y="4615070"/>
              <a:ext cx="1013816" cy="912485"/>
            </a:xfrm>
            <a:custGeom>
              <a:avLst/>
              <a:gdLst>
                <a:gd name="T0" fmla="*/ 0 w 1403"/>
                <a:gd name="T1" fmla="*/ 53 h 1052"/>
                <a:gd name="T2" fmla="*/ 0 w 1403"/>
                <a:gd name="T3" fmla="*/ 52 h 1052"/>
                <a:gd name="T4" fmla="*/ 0 w 1403"/>
                <a:gd name="T5" fmla="*/ 37 h 1052"/>
                <a:gd name="T6" fmla="*/ 2 w 1403"/>
                <a:gd name="T7" fmla="*/ 33 h 1052"/>
                <a:gd name="T8" fmla="*/ 7 w 1403"/>
                <a:gd name="T9" fmla="*/ 25 h 1052"/>
                <a:gd name="T10" fmla="*/ 7 w 1403"/>
                <a:gd name="T11" fmla="*/ 19 h 1052"/>
                <a:gd name="T12" fmla="*/ 8 w 1403"/>
                <a:gd name="T13" fmla="*/ 18 h 1052"/>
                <a:gd name="T14" fmla="*/ 8 w 1403"/>
                <a:gd name="T15" fmla="*/ 16 h 1052"/>
                <a:gd name="T16" fmla="*/ 10 w 1403"/>
                <a:gd name="T17" fmla="*/ 12 h 1052"/>
                <a:gd name="T18" fmla="*/ 11 w 1403"/>
                <a:gd name="T19" fmla="*/ 14 h 1052"/>
                <a:gd name="T20" fmla="*/ 11 w 1403"/>
                <a:gd name="T21" fmla="*/ 12 h 1052"/>
                <a:gd name="T22" fmla="*/ 14 w 1403"/>
                <a:gd name="T23" fmla="*/ 5 h 1052"/>
                <a:gd name="T24" fmla="*/ 17 w 1403"/>
                <a:gd name="T25" fmla="*/ 5 h 1052"/>
                <a:gd name="T26" fmla="*/ 19 w 1403"/>
                <a:gd name="T27" fmla="*/ 24 h 1052"/>
                <a:gd name="T28" fmla="*/ 20 w 1403"/>
                <a:gd name="T29" fmla="*/ 5 h 1052"/>
                <a:gd name="T30" fmla="*/ 22 w 1403"/>
                <a:gd name="T31" fmla="*/ 12 h 1052"/>
                <a:gd name="T32" fmla="*/ 24 w 1403"/>
                <a:gd name="T33" fmla="*/ 28 h 1052"/>
                <a:gd name="T34" fmla="*/ 26 w 1403"/>
                <a:gd name="T35" fmla="*/ 40 h 1052"/>
                <a:gd name="T36" fmla="*/ 26 w 1403"/>
                <a:gd name="T37" fmla="*/ 43 h 1052"/>
                <a:gd name="T38" fmla="*/ 28 w 1403"/>
                <a:gd name="T39" fmla="*/ 60 h 1052"/>
                <a:gd name="T40" fmla="*/ 27 w 1403"/>
                <a:gd name="T41" fmla="*/ 79 h 1052"/>
                <a:gd name="T42" fmla="*/ 24 w 1403"/>
                <a:gd name="T43" fmla="*/ 95 h 1052"/>
                <a:gd name="T44" fmla="*/ 24 w 1403"/>
                <a:gd name="T45" fmla="*/ 99 h 1052"/>
                <a:gd name="T46" fmla="*/ 21 w 1403"/>
                <a:gd name="T47" fmla="*/ 98 h 1052"/>
                <a:gd name="T48" fmla="*/ 19 w 1403"/>
                <a:gd name="T49" fmla="*/ 93 h 1052"/>
                <a:gd name="T50" fmla="*/ 17 w 1403"/>
                <a:gd name="T51" fmla="*/ 86 h 1052"/>
                <a:gd name="T52" fmla="*/ 17 w 1403"/>
                <a:gd name="T53" fmla="*/ 85 h 1052"/>
                <a:gd name="T54" fmla="*/ 17 w 1403"/>
                <a:gd name="T55" fmla="*/ 75 h 1052"/>
                <a:gd name="T56" fmla="*/ 16 w 1403"/>
                <a:gd name="T57" fmla="*/ 82 h 1052"/>
                <a:gd name="T58" fmla="*/ 13 w 1403"/>
                <a:gd name="T59" fmla="*/ 71 h 1052"/>
                <a:gd name="T60" fmla="*/ 8 w 1403"/>
                <a:gd name="T61" fmla="*/ 79 h 1052"/>
                <a:gd name="T62" fmla="*/ 3 w 1403"/>
                <a:gd name="T63" fmla="*/ 84 h 1052"/>
                <a:gd name="T64" fmla="*/ 2 w 1403"/>
                <a:gd name="T65" fmla="*/ 71 h 105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03"/>
                <a:gd name="T100" fmla="*/ 0 h 1052"/>
                <a:gd name="T101" fmla="*/ 1403 w 1403"/>
                <a:gd name="T102" fmla="*/ 1052 h 105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03" h="1052">
                  <a:moveTo>
                    <a:pt x="0" y="554"/>
                  </a:moveTo>
                  <a:lnTo>
                    <a:pt x="24" y="563"/>
                  </a:lnTo>
                  <a:lnTo>
                    <a:pt x="10" y="532"/>
                  </a:lnTo>
                  <a:lnTo>
                    <a:pt x="37" y="549"/>
                  </a:lnTo>
                  <a:lnTo>
                    <a:pt x="9" y="488"/>
                  </a:lnTo>
                  <a:lnTo>
                    <a:pt x="27" y="395"/>
                  </a:lnTo>
                  <a:lnTo>
                    <a:pt x="35" y="420"/>
                  </a:lnTo>
                  <a:lnTo>
                    <a:pt x="122" y="348"/>
                  </a:lnTo>
                  <a:lnTo>
                    <a:pt x="268" y="313"/>
                  </a:lnTo>
                  <a:lnTo>
                    <a:pt x="318" y="258"/>
                  </a:lnTo>
                  <a:lnTo>
                    <a:pt x="317" y="224"/>
                  </a:lnTo>
                  <a:lnTo>
                    <a:pt x="336" y="198"/>
                  </a:lnTo>
                  <a:lnTo>
                    <a:pt x="358" y="240"/>
                  </a:lnTo>
                  <a:lnTo>
                    <a:pt x="358" y="195"/>
                  </a:lnTo>
                  <a:lnTo>
                    <a:pt x="391" y="204"/>
                  </a:lnTo>
                  <a:lnTo>
                    <a:pt x="393" y="170"/>
                  </a:lnTo>
                  <a:lnTo>
                    <a:pt x="445" y="119"/>
                  </a:lnTo>
                  <a:lnTo>
                    <a:pt x="501" y="121"/>
                  </a:lnTo>
                  <a:lnTo>
                    <a:pt x="512" y="173"/>
                  </a:lnTo>
                  <a:lnTo>
                    <a:pt x="534" y="143"/>
                  </a:lnTo>
                  <a:lnTo>
                    <a:pt x="576" y="160"/>
                  </a:lnTo>
                  <a:lnTo>
                    <a:pt x="560" y="126"/>
                  </a:lnTo>
                  <a:lnTo>
                    <a:pt x="593" y="71"/>
                  </a:lnTo>
                  <a:lnTo>
                    <a:pt x="675" y="50"/>
                  </a:lnTo>
                  <a:lnTo>
                    <a:pt x="654" y="14"/>
                  </a:lnTo>
                  <a:lnTo>
                    <a:pt x="813" y="59"/>
                  </a:lnTo>
                  <a:lnTo>
                    <a:pt x="779" y="152"/>
                  </a:lnTo>
                  <a:lnTo>
                    <a:pt x="937" y="248"/>
                  </a:lnTo>
                  <a:lnTo>
                    <a:pt x="976" y="211"/>
                  </a:lnTo>
                  <a:lnTo>
                    <a:pt x="993" y="49"/>
                  </a:lnTo>
                  <a:lnTo>
                    <a:pt x="1031" y="0"/>
                  </a:lnTo>
                  <a:lnTo>
                    <a:pt x="1064" y="124"/>
                  </a:lnTo>
                  <a:lnTo>
                    <a:pt x="1119" y="152"/>
                  </a:lnTo>
                  <a:lnTo>
                    <a:pt x="1155" y="295"/>
                  </a:lnTo>
                  <a:lnTo>
                    <a:pt x="1240" y="340"/>
                  </a:lnTo>
                  <a:lnTo>
                    <a:pt x="1271" y="420"/>
                  </a:lnTo>
                  <a:lnTo>
                    <a:pt x="1303" y="415"/>
                  </a:lnTo>
                  <a:lnTo>
                    <a:pt x="1310" y="458"/>
                  </a:lnTo>
                  <a:lnTo>
                    <a:pt x="1380" y="519"/>
                  </a:lnTo>
                  <a:lnTo>
                    <a:pt x="1403" y="630"/>
                  </a:lnTo>
                  <a:lnTo>
                    <a:pt x="1387" y="738"/>
                  </a:lnTo>
                  <a:lnTo>
                    <a:pt x="1325" y="831"/>
                  </a:lnTo>
                  <a:lnTo>
                    <a:pt x="1281" y="987"/>
                  </a:lnTo>
                  <a:lnTo>
                    <a:pt x="1201" y="1004"/>
                  </a:lnTo>
                  <a:lnTo>
                    <a:pt x="1153" y="1034"/>
                  </a:lnTo>
                  <a:lnTo>
                    <a:pt x="1156" y="1052"/>
                  </a:lnTo>
                  <a:lnTo>
                    <a:pt x="1106" y="999"/>
                  </a:lnTo>
                  <a:lnTo>
                    <a:pt x="1052" y="1037"/>
                  </a:lnTo>
                  <a:lnTo>
                    <a:pt x="986" y="1020"/>
                  </a:lnTo>
                  <a:lnTo>
                    <a:pt x="933" y="982"/>
                  </a:lnTo>
                  <a:lnTo>
                    <a:pt x="909" y="902"/>
                  </a:lnTo>
                  <a:lnTo>
                    <a:pt x="868" y="911"/>
                  </a:lnTo>
                  <a:lnTo>
                    <a:pt x="867" y="859"/>
                  </a:lnTo>
                  <a:lnTo>
                    <a:pt x="854" y="893"/>
                  </a:lnTo>
                  <a:lnTo>
                    <a:pt x="826" y="894"/>
                  </a:lnTo>
                  <a:lnTo>
                    <a:pt x="856" y="791"/>
                  </a:lnTo>
                  <a:lnTo>
                    <a:pt x="794" y="889"/>
                  </a:lnTo>
                  <a:lnTo>
                    <a:pt x="766" y="869"/>
                  </a:lnTo>
                  <a:lnTo>
                    <a:pt x="734" y="793"/>
                  </a:lnTo>
                  <a:lnTo>
                    <a:pt x="631" y="750"/>
                  </a:lnTo>
                  <a:lnTo>
                    <a:pt x="444" y="783"/>
                  </a:lnTo>
                  <a:lnTo>
                    <a:pt x="367" y="839"/>
                  </a:lnTo>
                  <a:lnTo>
                    <a:pt x="238" y="843"/>
                  </a:lnTo>
                  <a:lnTo>
                    <a:pt x="165" y="892"/>
                  </a:lnTo>
                  <a:lnTo>
                    <a:pt x="68" y="858"/>
                  </a:lnTo>
                  <a:lnTo>
                    <a:pt x="89" y="756"/>
                  </a:lnTo>
                  <a:lnTo>
                    <a:pt x="0" y="554"/>
                  </a:lnTo>
                  <a:close/>
                </a:path>
              </a:pathLst>
            </a:custGeom>
            <a:solidFill>
              <a:srgbClr val="FFC00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" name="Freeform 14"/>
            <p:cNvSpPr>
              <a:spLocks noChangeAspect="1"/>
            </p:cNvSpPr>
            <p:nvPr/>
          </p:nvSpPr>
          <p:spPr bwMode="gray">
            <a:xfrm>
              <a:off x="7878724" y="5578986"/>
              <a:ext cx="88824" cy="101203"/>
            </a:xfrm>
            <a:custGeom>
              <a:avLst/>
              <a:gdLst>
                <a:gd name="T0" fmla="*/ 0 w 122"/>
                <a:gd name="T1" fmla="*/ 2 h 119"/>
                <a:gd name="T2" fmla="*/ 0 w 122"/>
                <a:gd name="T3" fmla="*/ 0 h 119"/>
                <a:gd name="T4" fmla="*/ 1 w 122"/>
                <a:gd name="T5" fmla="*/ 2 h 119"/>
                <a:gd name="T6" fmla="*/ 2 w 122"/>
                <a:gd name="T7" fmla="*/ 1 h 119"/>
                <a:gd name="T8" fmla="*/ 3 w 122"/>
                <a:gd name="T9" fmla="*/ 3 h 119"/>
                <a:gd name="T10" fmla="*/ 3 w 122"/>
                <a:gd name="T11" fmla="*/ 5 h 119"/>
                <a:gd name="T12" fmla="*/ 2 w 122"/>
                <a:gd name="T13" fmla="*/ 8 h 119"/>
                <a:gd name="T14" fmla="*/ 1 w 122"/>
                <a:gd name="T15" fmla="*/ 8 h 119"/>
                <a:gd name="T16" fmla="*/ 0 w 122"/>
                <a:gd name="T17" fmla="*/ 2 h 1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2"/>
                <a:gd name="T28" fmla="*/ 0 h 119"/>
                <a:gd name="T29" fmla="*/ 122 w 122"/>
                <a:gd name="T30" fmla="*/ 119 h 1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2" h="119">
                  <a:moveTo>
                    <a:pt x="0" y="20"/>
                  </a:moveTo>
                  <a:lnTo>
                    <a:pt x="2" y="0"/>
                  </a:lnTo>
                  <a:lnTo>
                    <a:pt x="63" y="17"/>
                  </a:lnTo>
                  <a:lnTo>
                    <a:pt x="110" y="3"/>
                  </a:lnTo>
                  <a:lnTo>
                    <a:pt x="122" y="32"/>
                  </a:lnTo>
                  <a:lnTo>
                    <a:pt x="122" y="67"/>
                  </a:lnTo>
                  <a:lnTo>
                    <a:pt x="75" y="119"/>
                  </a:lnTo>
                  <a:lnTo>
                    <a:pt x="45" y="116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FFC00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" name="Freeform 15"/>
            <p:cNvSpPr>
              <a:spLocks noChangeAspect="1"/>
            </p:cNvSpPr>
            <p:nvPr/>
          </p:nvSpPr>
          <p:spPr bwMode="gray">
            <a:xfrm>
              <a:off x="4492702" y="2708805"/>
              <a:ext cx="192962" cy="87930"/>
            </a:xfrm>
            <a:custGeom>
              <a:avLst/>
              <a:gdLst>
                <a:gd name="T0" fmla="*/ 0 w 265"/>
                <a:gd name="T1" fmla="*/ 5 h 102"/>
                <a:gd name="T2" fmla="*/ 0 w 265"/>
                <a:gd name="T3" fmla="*/ 5 h 102"/>
                <a:gd name="T4" fmla="*/ 0 w 265"/>
                <a:gd name="T5" fmla="*/ 7 h 102"/>
                <a:gd name="T6" fmla="*/ 0 w 265"/>
                <a:gd name="T7" fmla="*/ 7 h 102"/>
                <a:gd name="T8" fmla="*/ 2 w 265"/>
                <a:gd name="T9" fmla="*/ 6 h 102"/>
                <a:gd name="T10" fmla="*/ 3 w 265"/>
                <a:gd name="T11" fmla="*/ 9 h 102"/>
                <a:gd name="T12" fmla="*/ 5 w 265"/>
                <a:gd name="T13" fmla="*/ 7 h 102"/>
                <a:gd name="T14" fmla="*/ 6 w 265"/>
                <a:gd name="T15" fmla="*/ 3 h 102"/>
                <a:gd name="T16" fmla="*/ 6 w 265"/>
                <a:gd name="T17" fmla="*/ 0 h 102"/>
                <a:gd name="T18" fmla="*/ 3 w 265"/>
                <a:gd name="T19" fmla="*/ 1 h 102"/>
                <a:gd name="T20" fmla="*/ 3 w 265"/>
                <a:gd name="T21" fmla="*/ 5 h 102"/>
                <a:gd name="T22" fmla="*/ 0 w 265"/>
                <a:gd name="T23" fmla="*/ 5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5"/>
                <a:gd name="T37" fmla="*/ 0 h 102"/>
                <a:gd name="T38" fmla="*/ 265 w 265"/>
                <a:gd name="T39" fmla="*/ 102 h 10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5" h="102">
                  <a:moveTo>
                    <a:pt x="0" y="58"/>
                  </a:moveTo>
                  <a:lnTo>
                    <a:pt x="3" y="63"/>
                  </a:lnTo>
                  <a:lnTo>
                    <a:pt x="5" y="81"/>
                  </a:lnTo>
                  <a:lnTo>
                    <a:pt x="34" y="85"/>
                  </a:lnTo>
                  <a:lnTo>
                    <a:pt x="88" y="75"/>
                  </a:lnTo>
                  <a:lnTo>
                    <a:pt x="146" y="102"/>
                  </a:lnTo>
                  <a:lnTo>
                    <a:pt x="230" y="83"/>
                  </a:lnTo>
                  <a:lnTo>
                    <a:pt x="265" y="32"/>
                  </a:lnTo>
                  <a:lnTo>
                    <a:pt x="250" y="0"/>
                  </a:lnTo>
                  <a:lnTo>
                    <a:pt x="148" y="3"/>
                  </a:lnTo>
                  <a:lnTo>
                    <a:pt x="116" y="56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" name="Freeform 16"/>
            <p:cNvSpPr>
              <a:spLocks noChangeAspect="1"/>
            </p:cNvSpPr>
            <p:nvPr/>
          </p:nvSpPr>
          <p:spPr bwMode="gray">
            <a:xfrm>
              <a:off x="6454482" y="3481929"/>
              <a:ext cx="119453" cy="177520"/>
            </a:xfrm>
            <a:custGeom>
              <a:avLst/>
              <a:gdLst>
                <a:gd name="T0" fmla="*/ 0 w 166"/>
                <a:gd name="T1" fmla="*/ 5 h 206"/>
                <a:gd name="T2" fmla="*/ 0 w 166"/>
                <a:gd name="T3" fmla="*/ 7 h 206"/>
                <a:gd name="T4" fmla="*/ 0 w 166"/>
                <a:gd name="T5" fmla="*/ 16 h 206"/>
                <a:gd name="T6" fmla="*/ 1 w 166"/>
                <a:gd name="T7" fmla="*/ 15 h 206"/>
                <a:gd name="T8" fmla="*/ 2 w 166"/>
                <a:gd name="T9" fmla="*/ 11 h 206"/>
                <a:gd name="T10" fmla="*/ 2 w 166"/>
                <a:gd name="T11" fmla="*/ 12 h 206"/>
                <a:gd name="T12" fmla="*/ 3 w 166"/>
                <a:gd name="T13" fmla="*/ 18 h 206"/>
                <a:gd name="T14" fmla="*/ 3 w 166"/>
                <a:gd name="T15" fmla="*/ 15 h 206"/>
                <a:gd name="T16" fmla="*/ 3 w 166"/>
                <a:gd name="T17" fmla="*/ 9 h 206"/>
                <a:gd name="T18" fmla="*/ 2 w 166"/>
                <a:gd name="T19" fmla="*/ 11 h 206"/>
                <a:gd name="T20" fmla="*/ 2 w 166"/>
                <a:gd name="T21" fmla="*/ 8 h 206"/>
                <a:gd name="T22" fmla="*/ 3 w 166"/>
                <a:gd name="T23" fmla="*/ 5 h 206"/>
                <a:gd name="T24" fmla="*/ 1 w 166"/>
                <a:gd name="T25" fmla="*/ 4 h 206"/>
                <a:gd name="T26" fmla="*/ 0 w 166"/>
                <a:gd name="T27" fmla="*/ 0 h 206"/>
                <a:gd name="T28" fmla="*/ 0 w 166"/>
                <a:gd name="T29" fmla="*/ 2 h 206"/>
                <a:gd name="T30" fmla="*/ 0 w 166"/>
                <a:gd name="T31" fmla="*/ 4 h 206"/>
                <a:gd name="T32" fmla="*/ 0 w 166"/>
                <a:gd name="T33" fmla="*/ 5 h 20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66"/>
                <a:gd name="T52" fmla="*/ 0 h 206"/>
                <a:gd name="T53" fmla="*/ 166 w 166"/>
                <a:gd name="T54" fmla="*/ 206 h 20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66" h="206">
                  <a:moveTo>
                    <a:pt x="0" y="61"/>
                  </a:moveTo>
                  <a:lnTo>
                    <a:pt x="23" y="83"/>
                  </a:lnTo>
                  <a:lnTo>
                    <a:pt x="37" y="179"/>
                  </a:lnTo>
                  <a:lnTo>
                    <a:pt x="78" y="173"/>
                  </a:lnTo>
                  <a:lnTo>
                    <a:pt x="102" y="131"/>
                  </a:lnTo>
                  <a:lnTo>
                    <a:pt x="132" y="140"/>
                  </a:lnTo>
                  <a:lnTo>
                    <a:pt x="152" y="206"/>
                  </a:lnTo>
                  <a:lnTo>
                    <a:pt x="166" y="169"/>
                  </a:lnTo>
                  <a:lnTo>
                    <a:pt x="148" y="102"/>
                  </a:lnTo>
                  <a:lnTo>
                    <a:pt x="132" y="127"/>
                  </a:lnTo>
                  <a:lnTo>
                    <a:pt x="110" y="94"/>
                  </a:lnTo>
                  <a:lnTo>
                    <a:pt x="150" y="53"/>
                  </a:lnTo>
                  <a:lnTo>
                    <a:pt x="72" y="47"/>
                  </a:lnTo>
                  <a:lnTo>
                    <a:pt x="22" y="0"/>
                  </a:lnTo>
                  <a:lnTo>
                    <a:pt x="6" y="26"/>
                  </a:lnTo>
                  <a:lnTo>
                    <a:pt x="24" y="47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" name="Freeform 17"/>
            <p:cNvSpPr>
              <a:spLocks noChangeAspect="1"/>
            </p:cNvSpPr>
            <p:nvPr/>
          </p:nvSpPr>
          <p:spPr bwMode="gray">
            <a:xfrm>
              <a:off x="4331900" y="2605943"/>
              <a:ext cx="79635" cy="69681"/>
            </a:xfrm>
            <a:custGeom>
              <a:avLst/>
              <a:gdLst>
                <a:gd name="T0" fmla="*/ 0 w 112"/>
                <a:gd name="T1" fmla="*/ 2 h 81"/>
                <a:gd name="T2" fmla="*/ 0 w 112"/>
                <a:gd name="T3" fmla="*/ 1 h 81"/>
                <a:gd name="T4" fmla="*/ 1 w 112"/>
                <a:gd name="T5" fmla="*/ 0 h 81"/>
                <a:gd name="T6" fmla="*/ 2 w 112"/>
                <a:gd name="T7" fmla="*/ 3 h 81"/>
                <a:gd name="T8" fmla="*/ 2 w 112"/>
                <a:gd name="T9" fmla="*/ 5 h 81"/>
                <a:gd name="T10" fmla="*/ 1 w 112"/>
                <a:gd name="T11" fmla="*/ 7 h 81"/>
                <a:gd name="T12" fmla="*/ 0 w 112"/>
                <a:gd name="T13" fmla="*/ 2 h 8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2"/>
                <a:gd name="T22" fmla="*/ 0 h 81"/>
                <a:gd name="T23" fmla="*/ 112 w 112"/>
                <a:gd name="T24" fmla="*/ 81 h 8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2" h="81">
                  <a:moveTo>
                    <a:pt x="0" y="15"/>
                  </a:moveTo>
                  <a:lnTo>
                    <a:pt x="26" y="4"/>
                  </a:lnTo>
                  <a:lnTo>
                    <a:pt x="76" y="0"/>
                  </a:lnTo>
                  <a:lnTo>
                    <a:pt x="110" y="33"/>
                  </a:lnTo>
                  <a:lnTo>
                    <a:pt x="112" y="58"/>
                  </a:lnTo>
                  <a:lnTo>
                    <a:pt x="99" y="81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" name="Freeform 18"/>
            <p:cNvSpPr>
              <a:spLocks noChangeAspect="1"/>
            </p:cNvSpPr>
            <p:nvPr/>
          </p:nvSpPr>
          <p:spPr bwMode="gray">
            <a:xfrm>
              <a:off x="6480516" y="3425521"/>
              <a:ext cx="75041" cy="51431"/>
            </a:xfrm>
            <a:custGeom>
              <a:avLst/>
              <a:gdLst>
                <a:gd name="T0" fmla="*/ 0 w 105"/>
                <a:gd name="T1" fmla="*/ 4 h 59"/>
                <a:gd name="T2" fmla="*/ 0 w 105"/>
                <a:gd name="T3" fmla="*/ 6 h 59"/>
                <a:gd name="T4" fmla="*/ 2 w 105"/>
                <a:gd name="T5" fmla="*/ 5 h 59"/>
                <a:gd name="T6" fmla="*/ 2 w 105"/>
                <a:gd name="T7" fmla="*/ 2 h 59"/>
                <a:gd name="T8" fmla="*/ 0 w 105"/>
                <a:gd name="T9" fmla="*/ 0 h 59"/>
                <a:gd name="T10" fmla="*/ 0 w 105"/>
                <a:gd name="T11" fmla="*/ 4 h 5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5"/>
                <a:gd name="T19" fmla="*/ 0 h 59"/>
                <a:gd name="T20" fmla="*/ 105 w 105"/>
                <a:gd name="T21" fmla="*/ 59 h 5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5" h="59">
                  <a:moveTo>
                    <a:pt x="0" y="36"/>
                  </a:moveTo>
                  <a:lnTo>
                    <a:pt x="13" y="59"/>
                  </a:lnTo>
                  <a:lnTo>
                    <a:pt x="105" y="49"/>
                  </a:lnTo>
                  <a:lnTo>
                    <a:pt x="99" y="17"/>
                  </a:lnTo>
                  <a:lnTo>
                    <a:pt x="34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" name="Freeform 19"/>
            <p:cNvSpPr>
              <a:spLocks noChangeAspect="1"/>
            </p:cNvSpPr>
            <p:nvPr/>
          </p:nvSpPr>
          <p:spPr bwMode="gray">
            <a:xfrm>
              <a:off x="2515608" y="4576911"/>
              <a:ext cx="300163" cy="409789"/>
            </a:xfrm>
            <a:custGeom>
              <a:avLst/>
              <a:gdLst>
                <a:gd name="T0" fmla="*/ 0 w 415"/>
                <a:gd name="T1" fmla="*/ 5 h 471"/>
                <a:gd name="T2" fmla="*/ 0 w 415"/>
                <a:gd name="T3" fmla="*/ 9 h 471"/>
                <a:gd name="T4" fmla="*/ 0 w 415"/>
                <a:gd name="T5" fmla="*/ 20 h 471"/>
                <a:gd name="T6" fmla="*/ 0 w 415"/>
                <a:gd name="T7" fmla="*/ 22 h 471"/>
                <a:gd name="T8" fmla="*/ 0 w 415"/>
                <a:gd name="T9" fmla="*/ 23 h 471"/>
                <a:gd name="T10" fmla="*/ 0 w 415"/>
                <a:gd name="T11" fmla="*/ 27 h 471"/>
                <a:gd name="T12" fmla="*/ 1 w 415"/>
                <a:gd name="T13" fmla="*/ 34 h 471"/>
                <a:gd name="T14" fmla="*/ 1 w 415"/>
                <a:gd name="T15" fmla="*/ 46 h 471"/>
                <a:gd name="T16" fmla="*/ 2 w 415"/>
                <a:gd name="T17" fmla="*/ 47 h 471"/>
                <a:gd name="T18" fmla="*/ 2 w 415"/>
                <a:gd name="T19" fmla="*/ 42 h 471"/>
                <a:gd name="T20" fmla="*/ 4 w 415"/>
                <a:gd name="T21" fmla="*/ 46 h 471"/>
                <a:gd name="T22" fmla="*/ 4 w 415"/>
                <a:gd name="T23" fmla="*/ 44 h 471"/>
                <a:gd name="T24" fmla="*/ 5 w 415"/>
                <a:gd name="T25" fmla="*/ 45 h 471"/>
                <a:gd name="T26" fmla="*/ 6 w 415"/>
                <a:gd name="T27" fmla="*/ 35 h 471"/>
                <a:gd name="T28" fmla="*/ 8 w 415"/>
                <a:gd name="T29" fmla="*/ 34 h 471"/>
                <a:gd name="T30" fmla="*/ 8 w 415"/>
                <a:gd name="T31" fmla="*/ 37 h 471"/>
                <a:gd name="T32" fmla="*/ 9 w 415"/>
                <a:gd name="T33" fmla="*/ 30 h 471"/>
                <a:gd name="T34" fmla="*/ 8 w 415"/>
                <a:gd name="T35" fmla="*/ 24 h 471"/>
                <a:gd name="T36" fmla="*/ 7 w 415"/>
                <a:gd name="T37" fmla="*/ 23 h 471"/>
                <a:gd name="T38" fmla="*/ 6 w 415"/>
                <a:gd name="T39" fmla="*/ 14 h 471"/>
                <a:gd name="T40" fmla="*/ 3 w 415"/>
                <a:gd name="T41" fmla="*/ 8 h 471"/>
                <a:gd name="T42" fmla="*/ 3 w 415"/>
                <a:gd name="T43" fmla="*/ 0 h 471"/>
                <a:gd name="T44" fmla="*/ 1 w 415"/>
                <a:gd name="T45" fmla="*/ 5 h 471"/>
                <a:gd name="T46" fmla="*/ 0 w 415"/>
                <a:gd name="T47" fmla="*/ 5 h 47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15"/>
                <a:gd name="T73" fmla="*/ 0 h 471"/>
                <a:gd name="T74" fmla="*/ 415 w 415"/>
                <a:gd name="T75" fmla="*/ 471 h 47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15" h="471">
                  <a:moveTo>
                    <a:pt x="0" y="48"/>
                  </a:moveTo>
                  <a:lnTo>
                    <a:pt x="30" y="98"/>
                  </a:lnTo>
                  <a:lnTo>
                    <a:pt x="9" y="204"/>
                  </a:lnTo>
                  <a:lnTo>
                    <a:pt x="30" y="217"/>
                  </a:lnTo>
                  <a:lnTo>
                    <a:pt x="20" y="232"/>
                  </a:lnTo>
                  <a:lnTo>
                    <a:pt x="2" y="276"/>
                  </a:lnTo>
                  <a:lnTo>
                    <a:pt x="38" y="339"/>
                  </a:lnTo>
                  <a:lnTo>
                    <a:pt x="60" y="467"/>
                  </a:lnTo>
                  <a:lnTo>
                    <a:pt x="84" y="471"/>
                  </a:lnTo>
                  <a:lnTo>
                    <a:pt x="121" y="431"/>
                  </a:lnTo>
                  <a:lnTo>
                    <a:pt x="186" y="464"/>
                  </a:lnTo>
                  <a:lnTo>
                    <a:pt x="189" y="440"/>
                  </a:lnTo>
                  <a:lnTo>
                    <a:pt x="245" y="449"/>
                  </a:lnTo>
                  <a:lnTo>
                    <a:pt x="266" y="356"/>
                  </a:lnTo>
                  <a:lnTo>
                    <a:pt x="368" y="339"/>
                  </a:lnTo>
                  <a:lnTo>
                    <a:pt x="402" y="371"/>
                  </a:lnTo>
                  <a:lnTo>
                    <a:pt x="415" y="298"/>
                  </a:lnTo>
                  <a:lnTo>
                    <a:pt x="392" y="237"/>
                  </a:lnTo>
                  <a:lnTo>
                    <a:pt x="334" y="234"/>
                  </a:lnTo>
                  <a:lnTo>
                    <a:pt x="309" y="141"/>
                  </a:lnTo>
                  <a:lnTo>
                    <a:pt x="155" y="80"/>
                  </a:lnTo>
                  <a:lnTo>
                    <a:pt x="146" y="0"/>
                  </a:lnTo>
                  <a:lnTo>
                    <a:pt x="42" y="5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" name="Freeform 20"/>
            <p:cNvSpPr>
              <a:spLocks noChangeAspect="1"/>
            </p:cNvSpPr>
            <p:nvPr/>
          </p:nvSpPr>
          <p:spPr bwMode="gray">
            <a:xfrm>
              <a:off x="2414533" y="4137259"/>
              <a:ext cx="970935" cy="1201163"/>
            </a:xfrm>
            <a:custGeom>
              <a:avLst/>
              <a:gdLst>
                <a:gd name="T0" fmla="*/ 0 w 1354"/>
                <a:gd name="T1" fmla="*/ 48 h 1384"/>
                <a:gd name="T2" fmla="*/ 2 w 1354"/>
                <a:gd name="T3" fmla="*/ 48 h 1384"/>
                <a:gd name="T4" fmla="*/ 3 w 1354"/>
                <a:gd name="T5" fmla="*/ 53 h 1384"/>
                <a:gd name="T6" fmla="*/ 5 w 1354"/>
                <a:gd name="T7" fmla="*/ 49 h 1384"/>
                <a:gd name="T8" fmla="*/ 8 w 1354"/>
                <a:gd name="T9" fmla="*/ 62 h 1384"/>
                <a:gd name="T10" fmla="*/ 10 w 1354"/>
                <a:gd name="T11" fmla="*/ 71 h 1384"/>
                <a:gd name="T12" fmla="*/ 10 w 1354"/>
                <a:gd name="T13" fmla="*/ 84 h 1384"/>
                <a:gd name="T14" fmla="*/ 11 w 1354"/>
                <a:gd name="T15" fmla="*/ 92 h 1384"/>
                <a:gd name="T16" fmla="*/ 12 w 1354"/>
                <a:gd name="T17" fmla="*/ 97 h 1384"/>
                <a:gd name="T18" fmla="*/ 13 w 1354"/>
                <a:gd name="T19" fmla="*/ 103 h 1384"/>
                <a:gd name="T20" fmla="*/ 10 w 1354"/>
                <a:gd name="T21" fmla="*/ 119 h 1384"/>
                <a:gd name="T22" fmla="*/ 13 w 1354"/>
                <a:gd name="T23" fmla="*/ 126 h 1384"/>
                <a:gd name="T24" fmla="*/ 13 w 1354"/>
                <a:gd name="T25" fmla="*/ 132 h 1384"/>
                <a:gd name="T26" fmla="*/ 16 w 1354"/>
                <a:gd name="T27" fmla="*/ 103 h 1384"/>
                <a:gd name="T28" fmla="*/ 20 w 1354"/>
                <a:gd name="T29" fmla="*/ 94 h 1384"/>
                <a:gd name="T30" fmla="*/ 22 w 1354"/>
                <a:gd name="T31" fmla="*/ 75 h 1384"/>
                <a:gd name="T32" fmla="*/ 24 w 1354"/>
                <a:gd name="T33" fmla="*/ 47 h 1384"/>
                <a:gd name="T34" fmla="*/ 24 w 1354"/>
                <a:gd name="T35" fmla="*/ 35 h 1384"/>
                <a:gd name="T36" fmla="*/ 22 w 1354"/>
                <a:gd name="T37" fmla="*/ 27 h 1384"/>
                <a:gd name="T38" fmla="*/ 18 w 1354"/>
                <a:gd name="T39" fmla="*/ 22 h 1384"/>
                <a:gd name="T40" fmla="*/ 16 w 1354"/>
                <a:gd name="T41" fmla="*/ 19 h 1384"/>
                <a:gd name="T42" fmla="*/ 15 w 1354"/>
                <a:gd name="T43" fmla="*/ 23 h 1384"/>
                <a:gd name="T44" fmla="*/ 15 w 1354"/>
                <a:gd name="T45" fmla="*/ 22 h 1384"/>
                <a:gd name="T46" fmla="*/ 15 w 1354"/>
                <a:gd name="T47" fmla="*/ 12 h 1384"/>
                <a:gd name="T48" fmla="*/ 13 w 1354"/>
                <a:gd name="T49" fmla="*/ 10 h 1384"/>
                <a:gd name="T50" fmla="*/ 11 w 1354"/>
                <a:gd name="T51" fmla="*/ 10 h 1384"/>
                <a:gd name="T52" fmla="*/ 9 w 1354"/>
                <a:gd name="T53" fmla="*/ 9 h 1384"/>
                <a:gd name="T54" fmla="*/ 8 w 1354"/>
                <a:gd name="T55" fmla="*/ 0 h 1384"/>
                <a:gd name="T56" fmla="*/ 6 w 1354"/>
                <a:gd name="T57" fmla="*/ 3 h 1384"/>
                <a:gd name="T58" fmla="*/ 7 w 1354"/>
                <a:gd name="T59" fmla="*/ 10 h 1384"/>
                <a:gd name="T60" fmla="*/ 4 w 1354"/>
                <a:gd name="T61" fmla="*/ 13 h 1384"/>
                <a:gd name="T62" fmla="*/ 3 w 1354"/>
                <a:gd name="T63" fmla="*/ 12 h 1384"/>
                <a:gd name="T64" fmla="*/ 2 w 1354"/>
                <a:gd name="T65" fmla="*/ 15 h 1384"/>
                <a:gd name="T66" fmla="*/ 2 w 1354"/>
                <a:gd name="T67" fmla="*/ 31 h 1384"/>
                <a:gd name="T68" fmla="*/ 0 w 1354"/>
                <a:gd name="T69" fmla="*/ 42 h 13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54"/>
                <a:gd name="T106" fmla="*/ 0 h 1384"/>
                <a:gd name="T107" fmla="*/ 1354 w 1354"/>
                <a:gd name="T108" fmla="*/ 1384 h 13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54" h="1384">
                  <a:moveTo>
                    <a:pt x="0" y="438"/>
                  </a:moveTo>
                  <a:lnTo>
                    <a:pt x="30" y="502"/>
                  </a:lnTo>
                  <a:lnTo>
                    <a:pt x="77" y="524"/>
                  </a:lnTo>
                  <a:lnTo>
                    <a:pt x="114" y="499"/>
                  </a:lnTo>
                  <a:lnTo>
                    <a:pt x="114" y="557"/>
                  </a:lnTo>
                  <a:lnTo>
                    <a:pt x="145" y="557"/>
                  </a:lnTo>
                  <a:lnTo>
                    <a:pt x="187" y="559"/>
                  </a:lnTo>
                  <a:lnTo>
                    <a:pt x="291" y="509"/>
                  </a:lnTo>
                  <a:lnTo>
                    <a:pt x="300" y="589"/>
                  </a:lnTo>
                  <a:lnTo>
                    <a:pt x="454" y="650"/>
                  </a:lnTo>
                  <a:lnTo>
                    <a:pt x="479" y="743"/>
                  </a:lnTo>
                  <a:lnTo>
                    <a:pt x="537" y="746"/>
                  </a:lnTo>
                  <a:lnTo>
                    <a:pt x="560" y="807"/>
                  </a:lnTo>
                  <a:lnTo>
                    <a:pt x="547" y="880"/>
                  </a:lnTo>
                  <a:lnTo>
                    <a:pt x="556" y="949"/>
                  </a:lnTo>
                  <a:lnTo>
                    <a:pt x="628" y="962"/>
                  </a:lnTo>
                  <a:lnTo>
                    <a:pt x="638" y="1009"/>
                  </a:lnTo>
                  <a:lnTo>
                    <a:pt x="673" y="1018"/>
                  </a:lnTo>
                  <a:lnTo>
                    <a:pt x="667" y="1080"/>
                  </a:lnTo>
                  <a:lnTo>
                    <a:pt x="695" y="1081"/>
                  </a:lnTo>
                  <a:lnTo>
                    <a:pt x="700" y="1134"/>
                  </a:lnTo>
                  <a:lnTo>
                    <a:pt x="564" y="1251"/>
                  </a:lnTo>
                  <a:lnTo>
                    <a:pt x="590" y="1244"/>
                  </a:lnTo>
                  <a:lnTo>
                    <a:pt x="695" y="1316"/>
                  </a:lnTo>
                  <a:lnTo>
                    <a:pt x="716" y="1347"/>
                  </a:lnTo>
                  <a:lnTo>
                    <a:pt x="707" y="1384"/>
                  </a:lnTo>
                  <a:lnTo>
                    <a:pt x="874" y="1178"/>
                  </a:lnTo>
                  <a:lnTo>
                    <a:pt x="883" y="1074"/>
                  </a:lnTo>
                  <a:lnTo>
                    <a:pt x="1017" y="980"/>
                  </a:lnTo>
                  <a:lnTo>
                    <a:pt x="1099" y="980"/>
                  </a:lnTo>
                  <a:lnTo>
                    <a:pt x="1133" y="947"/>
                  </a:lnTo>
                  <a:lnTo>
                    <a:pt x="1201" y="789"/>
                  </a:lnTo>
                  <a:lnTo>
                    <a:pt x="1210" y="635"/>
                  </a:lnTo>
                  <a:lnTo>
                    <a:pt x="1342" y="488"/>
                  </a:lnTo>
                  <a:lnTo>
                    <a:pt x="1354" y="423"/>
                  </a:lnTo>
                  <a:lnTo>
                    <a:pt x="1333" y="360"/>
                  </a:lnTo>
                  <a:lnTo>
                    <a:pt x="1280" y="351"/>
                  </a:lnTo>
                  <a:lnTo>
                    <a:pt x="1192" y="285"/>
                  </a:lnTo>
                  <a:lnTo>
                    <a:pt x="1022" y="271"/>
                  </a:lnTo>
                  <a:lnTo>
                    <a:pt x="1006" y="230"/>
                  </a:lnTo>
                  <a:lnTo>
                    <a:pt x="929" y="201"/>
                  </a:lnTo>
                  <a:lnTo>
                    <a:pt x="898" y="202"/>
                  </a:lnTo>
                  <a:lnTo>
                    <a:pt x="852" y="262"/>
                  </a:lnTo>
                  <a:lnTo>
                    <a:pt x="850" y="241"/>
                  </a:lnTo>
                  <a:lnTo>
                    <a:pt x="777" y="251"/>
                  </a:lnTo>
                  <a:lnTo>
                    <a:pt x="808" y="239"/>
                  </a:lnTo>
                  <a:lnTo>
                    <a:pt x="779" y="192"/>
                  </a:lnTo>
                  <a:lnTo>
                    <a:pt x="833" y="125"/>
                  </a:lnTo>
                  <a:lnTo>
                    <a:pt x="776" y="39"/>
                  </a:lnTo>
                  <a:lnTo>
                    <a:pt x="724" y="107"/>
                  </a:lnTo>
                  <a:lnTo>
                    <a:pt x="675" y="102"/>
                  </a:lnTo>
                  <a:lnTo>
                    <a:pt x="603" y="112"/>
                  </a:lnTo>
                  <a:lnTo>
                    <a:pt x="504" y="126"/>
                  </a:lnTo>
                  <a:lnTo>
                    <a:pt x="486" y="91"/>
                  </a:lnTo>
                  <a:lnTo>
                    <a:pt x="493" y="25"/>
                  </a:lnTo>
                  <a:lnTo>
                    <a:pt x="461" y="0"/>
                  </a:lnTo>
                  <a:lnTo>
                    <a:pt x="376" y="42"/>
                  </a:lnTo>
                  <a:lnTo>
                    <a:pt x="316" y="30"/>
                  </a:lnTo>
                  <a:lnTo>
                    <a:pt x="333" y="95"/>
                  </a:lnTo>
                  <a:lnTo>
                    <a:pt x="366" y="103"/>
                  </a:lnTo>
                  <a:lnTo>
                    <a:pt x="283" y="151"/>
                  </a:lnTo>
                  <a:lnTo>
                    <a:pt x="242" y="134"/>
                  </a:lnTo>
                  <a:lnTo>
                    <a:pt x="223" y="109"/>
                  </a:lnTo>
                  <a:lnTo>
                    <a:pt x="140" y="123"/>
                  </a:lnTo>
                  <a:lnTo>
                    <a:pt x="165" y="158"/>
                  </a:lnTo>
                  <a:lnTo>
                    <a:pt x="132" y="161"/>
                  </a:lnTo>
                  <a:lnTo>
                    <a:pt x="152" y="222"/>
                  </a:lnTo>
                  <a:lnTo>
                    <a:pt x="136" y="322"/>
                  </a:lnTo>
                  <a:lnTo>
                    <a:pt x="48" y="357"/>
                  </a:lnTo>
                  <a:lnTo>
                    <a:pt x="0" y="43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" name="Freeform 21"/>
            <p:cNvSpPr>
              <a:spLocks noChangeAspect="1"/>
            </p:cNvSpPr>
            <p:nvPr/>
          </p:nvSpPr>
          <p:spPr bwMode="gray">
            <a:xfrm>
              <a:off x="2025546" y="3732447"/>
              <a:ext cx="24503" cy="79635"/>
            </a:xfrm>
            <a:custGeom>
              <a:avLst/>
              <a:gdLst>
                <a:gd name="T0" fmla="*/ 0 w 28"/>
                <a:gd name="T1" fmla="*/ 2 h 92"/>
                <a:gd name="T2" fmla="*/ 4 w 28"/>
                <a:gd name="T3" fmla="*/ 8 h 92"/>
                <a:gd name="T4" fmla="*/ 10 w 28"/>
                <a:gd name="T5" fmla="*/ 0 h 92"/>
                <a:gd name="T6" fmla="*/ 0 w 28"/>
                <a:gd name="T7" fmla="*/ 2 h 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92"/>
                <a:gd name="T14" fmla="*/ 28 w 28"/>
                <a:gd name="T15" fmla="*/ 92 h 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92">
                  <a:moveTo>
                    <a:pt x="0" y="20"/>
                  </a:moveTo>
                  <a:lnTo>
                    <a:pt x="11" y="92"/>
                  </a:lnTo>
                  <a:lnTo>
                    <a:pt x="28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" name="Freeform 22"/>
            <p:cNvSpPr>
              <a:spLocks noChangeAspect="1"/>
            </p:cNvSpPr>
            <p:nvPr/>
          </p:nvSpPr>
          <p:spPr bwMode="gray">
            <a:xfrm>
              <a:off x="4818900" y="2881347"/>
              <a:ext cx="156207" cy="106180"/>
            </a:xfrm>
            <a:custGeom>
              <a:avLst/>
              <a:gdLst>
                <a:gd name="T0" fmla="*/ 0 w 216"/>
                <a:gd name="T1" fmla="*/ 8 h 122"/>
                <a:gd name="T2" fmla="*/ 0 w 216"/>
                <a:gd name="T3" fmla="*/ 0 h 122"/>
                <a:gd name="T4" fmla="*/ 4 w 216"/>
                <a:gd name="T5" fmla="*/ 2 h 122"/>
                <a:gd name="T6" fmla="*/ 4 w 216"/>
                <a:gd name="T7" fmla="*/ 7 h 122"/>
                <a:gd name="T8" fmla="*/ 4 w 216"/>
                <a:gd name="T9" fmla="*/ 9 h 122"/>
                <a:gd name="T10" fmla="*/ 3 w 216"/>
                <a:gd name="T11" fmla="*/ 10 h 122"/>
                <a:gd name="T12" fmla="*/ 2 w 216"/>
                <a:gd name="T13" fmla="*/ 12 h 122"/>
                <a:gd name="T14" fmla="*/ 0 w 216"/>
                <a:gd name="T15" fmla="*/ 12 h 122"/>
                <a:gd name="T16" fmla="*/ 0 w 216"/>
                <a:gd name="T17" fmla="*/ 8 h 1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6"/>
                <a:gd name="T28" fmla="*/ 0 h 122"/>
                <a:gd name="T29" fmla="*/ 216 w 216"/>
                <a:gd name="T30" fmla="*/ 122 h 1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6" h="122">
                  <a:moveTo>
                    <a:pt x="0" y="84"/>
                  </a:moveTo>
                  <a:lnTo>
                    <a:pt x="12" y="0"/>
                  </a:lnTo>
                  <a:lnTo>
                    <a:pt x="216" y="19"/>
                  </a:lnTo>
                  <a:lnTo>
                    <a:pt x="178" y="70"/>
                  </a:lnTo>
                  <a:lnTo>
                    <a:pt x="194" y="97"/>
                  </a:lnTo>
                  <a:lnTo>
                    <a:pt x="139" y="101"/>
                  </a:lnTo>
                  <a:lnTo>
                    <a:pt x="106" y="122"/>
                  </a:lnTo>
                  <a:lnTo>
                    <a:pt x="21" y="12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4" name="Freeform 23"/>
            <p:cNvSpPr>
              <a:spLocks noChangeAspect="1"/>
            </p:cNvSpPr>
            <p:nvPr/>
          </p:nvSpPr>
          <p:spPr bwMode="gray">
            <a:xfrm>
              <a:off x="6566277" y="3430498"/>
              <a:ext cx="223591" cy="559105"/>
            </a:xfrm>
            <a:custGeom>
              <a:avLst/>
              <a:gdLst>
                <a:gd name="T0" fmla="*/ 0 w 313"/>
                <a:gd name="T1" fmla="*/ 26 h 644"/>
                <a:gd name="T2" fmla="*/ 0 w 313"/>
                <a:gd name="T3" fmla="*/ 22 h 644"/>
                <a:gd name="T4" fmla="*/ 2 w 313"/>
                <a:gd name="T5" fmla="*/ 6 h 644"/>
                <a:gd name="T6" fmla="*/ 3 w 313"/>
                <a:gd name="T7" fmla="*/ 4 h 644"/>
                <a:gd name="T8" fmla="*/ 3 w 313"/>
                <a:gd name="T9" fmla="*/ 0 h 644"/>
                <a:gd name="T10" fmla="*/ 4 w 313"/>
                <a:gd name="T11" fmla="*/ 2 h 644"/>
                <a:gd name="T12" fmla="*/ 4 w 313"/>
                <a:gd name="T13" fmla="*/ 5 h 644"/>
                <a:gd name="T14" fmla="*/ 3 w 313"/>
                <a:gd name="T15" fmla="*/ 15 h 644"/>
                <a:gd name="T16" fmla="*/ 4 w 313"/>
                <a:gd name="T17" fmla="*/ 14 h 644"/>
                <a:gd name="T18" fmla="*/ 4 w 313"/>
                <a:gd name="T19" fmla="*/ 21 h 644"/>
                <a:gd name="T20" fmla="*/ 6 w 313"/>
                <a:gd name="T21" fmla="*/ 23 h 644"/>
                <a:gd name="T22" fmla="*/ 5 w 313"/>
                <a:gd name="T23" fmla="*/ 26 h 644"/>
                <a:gd name="T24" fmla="*/ 3 w 313"/>
                <a:gd name="T25" fmla="*/ 30 h 644"/>
                <a:gd name="T26" fmla="*/ 3 w 313"/>
                <a:gd name="T27" fmla="*/ 34 h 644"/>
                <a:gd name="T28" fmla="*/ 4 w 313"/>
                <a:gd name="T29" fmla="*/ 42 h 644"/>
                <a:gd name="T30" fmla="*/ 3 w 313"/>
                <a:gd name="T31" fmla="*/ 46 h 644"/>
                <a:gd name="T32" fmla="*/ 5 w 313"/>
                <a:gd name="T33" fmla="*/ 56 h 644"/>
                <a:gd name="T34" fmla="*/ 4 w 313"/>
                <a:gd name="T35" fmla="*/ 62 h 644"/>
                <a:gd name="T36" fmla="*/ 3 w 313"/>
                <a:gd name="T37" fmla="*/ 41 h 644"/>
                <a:gd name="T38" fmla="*/ 3 w 313"/>
                <a:gd name="T39" fmla="*/ 38 h 644"/>
                <a:gd name="T40" fmla="*/ 2 w 313"/>
                <a:gd name="T41" fmla="*/ 43 h 644"/>
                <a:gd name="T42" fmla="*/ 1 w 313"/>
                <a:gd name="T43" fmla="*/ 42 h 644"/>
                <a:gd name="T44" fmla="*/ 1 w 313"/>
                <a:gd name="T45" fmla="*/ 34 h 644"/>
                <a:gd name="T46" fmla="*/ 0 w 313"/>
                <a:gd name="T47" fmla="*/ 26 h 6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3"/>
                <a:gd name="T73" fmla="*/ 0 h 644"/>
                <a:gd name="T74" fmla="*/ 313 w 313"/>
                <a:gd name="T75" fmla="*/ 644 h 6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3" h="644">
                  <a:moveTo>
                    <a:pt x="0" y="265"/>
                  </a:moveTo>
                  <a:lnTo>
                    <a:pt x="14" y="228"/>
                  </a:lnTo>
                  <a:lnTo>
                    <a:pt x="105" y="60"/>
                  </a:lnTo>
                  <a:lnTo>
                    <a:pt x="166" y="37"/>
                  </a:lnTo>
                  <a:lnTo>
                    <a:pt x="181" y="0"/>
                  </a:lnTo>
                  <a:lnTo>
                    <a:pt x="224" y="21"/>
                  </a:lnTo>
                  <a:lnTo>
                    <a:pt x="225" y="54"/>
                  </a:lnTo>
                  <a:lnTo>
                    <a:pt x="187" y="157"/>
                  </a:lnTo>
                  <a:lnTo>
                    <a:pt x="227" y="148"/>
                  </a:lnTo>
                  <a:lnTo>
                    <a:pt x="247" y="219"/>
                  </a:lnTo>
                  <a:lnTo>
                    <a:pt x="313" y="238"/>
                  </a:lnTo>
                  <a:lnTo>
                    <a:pt x="280" y="271"/>
                  </a:lnTo>
                  <a:lnTo>
                    <a:pt x="206" y="314"/>
                  </a:lnTo>
                  <a:lnTo>
                    <a:pt x="187" y="355"/>
                  </a:lnTo>
                  <a:lnTo>
                    <a:pt x="227" y="433"/>
                  </a:lnTo>
                  <a:lnTo>
                    <a:pt x="211" y="479"/>
                  </a:lnTo>
                  <a:lnTo>
                    <a:pt x="260" y="581"/>
                  </a:lnTo>
                  <a:lnTo>
                    <a:pt x="225" y="644"/>
                  </a:lnTo>
                  <a:lnTo>
                    <a:pt x="189" y="424"/>
                  </a:lnTo>
                  <a:lnTo>
                    <a:pt x="159" y="389"/>
                  </a:lnTo>
                  <a:lnTo>
                    <a:pt x="109" y="448"/>
                  </a:lnTo>
                  <a:lnTo>
                    <a:pt x="71" y="436"/>
                  </a:lnTo>
                  <a:lnTo>
                    <a:pt x="77" y="356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5" name="Freeform 24"/>
            <p:cNvSpPr>
              <a:spLocks noChangeAspect="1"/>
            </p:cNvSpPr>
            <p:nvPr/>
          </p:nvSpPr>
          <p:spPr bwMode="gray">
            <a:xfrm>
              <a:off x="6822028" y="3851900"/>
              <a:ext cx="125578" cy="127748"/>
            </a:xfrm>
            <a:custGeom>
              <a:avLst/>
              <a:gdLst>
                <a:gd name="T0" fmla="*/ 0 w 174"/>
                <a:gd name="T1" fmla="*/ 3 h 149"/>
                <a:gd name="T2" fmla="*/ 0 w 174"/>
                <a:gd name="T3" fmla="*/ 8 h 149"/>
                <a:gd name="T4" fmla="*/ 0 w 174"/>
                <a:gd name="T5" fmla="*/ 11 h 149"/>
                <a:gd name="T6" fmla="*/ 1 w 174"/>
                <a:gd name="T7" fmla="*/ 12 h 149"/>
                <a:gd name="T8" fmla="*/ 4 w 174"/>
                <a:gd name="T9" fmla="*/ 6 h 149"/>
                <a:gd name="T10" fmla="*/ 4 w 174"/>
                <a:gd name="T11" fmla="*/ 0 h 149"/>
                <a:gd name="T12" fmla="*/ 2 w 174"/>
                <a:gd name="T13" fmla="*/ 1 h 149"/>
                <a:gd name="T14" fmla="*/ 0 w 174"/>
                <a:gd name="T15" fmla="*/ 1 h 149"/>
                <a:gd name="T16" fmla="*/ 0 w 174"/>
                <a:gd name="T17" fmla="*/ 3 h 14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4"/>
                <a:gd name="T28" fmla="*/ 0 h 149"/>
                <a:gd name="T29" fmla="*/ 174 w 174"/>
                <a:gd name="T30" fmla="*/ 149 h 14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4" h="149">
                  <a:moveTo>
                    <a:pt x="0" y="30"/>
                  </a:moveTo>
                  <a:lnTo>
                    <a:pt x="13" y="104"/>
                  </a:lnTo>
                  <a:lnTo>
                    <a:pt x="36" y="143"/>
                  </a:lnTo>
                  <a:lnTo>
                    <a:pt x="70" y="149"/>
                  </a:lnTo>
                  <a:lnTo>
                    <a:pt x="174" y="79"/>
                  </a:lnTo>
                  <a:lnTo>
                    <a:pt x="170" y="0"/>
                  </a:lnTo>
                  <a:lnTo>
                    <a:pt x="91" y="12"/>
                  </a:lnTo>
                  <a:lnTo>
                    <a:pt x="24" y="9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6" name="Freeform 25"/>
            <p:cNvSpPr>
              <a:spLocks noChangeAspect="1"/>
            </p:cNvSpPr>
            <p:nvPr/>
          </p:nvSpPr>
          <p:spPr bwMode="gray">
            <a:xfrm>
              <a:off x="733007" y="1656958"/>
              <a:ext cx="2134833" cy="1312320"/>
            </a:xfrm>
            <a:custGeom>
              <a:avLst/>
              <a:gdLst>
                <a:gd name="T0" fmla="*/ 4 w 2963"/>
                <a:gd name="T1" fmla="*/ 17 h 1511"/>
                <a:gd name="T2" fmla="*/ 7 w 2963"/>
                <a:gd name="T3" fmla="*/ 15 h 1511"/>
                <a:gd name="T4" fmla="*/ 10 w 2963"/>
                <a:gd name="T5" fmla="*/ 16 h 1511"/>
                <a:gd name="T6" fmla="*/ 16 w 2963"/>
                <a:gd name="T7" fmla="*/ 18 h 1511"/>
                <a:gd name="T8" fmla="*/ 18 w 2963"/>
                <a:gd name="T9" fmla="*/ 25 h 1511"/>
                <a:gd name="T10" fmla="*/ 23 w 2963"/>
                <a:gd name="T11" fmla="*/ 28 h 1511"/>
                <a:gd name="T12" fmla="*/ 22 w 2963"/>
                <a:gd name="T13" fmla="*/ 21 h 1511"/>
                <a:gd name="T14" fmla="*/ 26 w 2963"/>
                <a:gd name="T15" fmla="*/ 25 h 1511"/>
                <a:gd name="T16" fmla="*/ 30 w 2963"/>
                <a:gd name="T17" fmla="*/ 23 h 1511"/>
                <a:gd name="T18" fmla="*/ 30 w 2963"/>
                <a:gd name="T19" fmla="*/ 23 h 1511"/>
                <a:gd name="T20" fmla="*/ 31 w 2963"/>
                <a:gd name="T21" fmla="*/ 23 h 1511"/>
                <a:gd name="T22" fmla="*/ 32 w 2963"/>
                <a:gd name="T23" fmla="*/ 15 h 1511"/>
                <a:gd name="T24" fmla="*/ 31 w 2963"/>
                <a:gd name="T25" fmla="*/ 0 h 1511"/>
                <a:gd name="T26" fmla="*/ 33 w 2963"/>
                <a:gd name="T27" fmla="*/ 10 h 1511"/>
                <a:gd name="T28" fmla="*/ 33 w 2963"/>
                <a:gd name="T29" fmla="*/ 16 h 1511"/>
                <a:gd name="T30" fmla="*/ 36 w 2963"/>
                <a:gd name="T31" fmla="*/ 22 h 1511"/>
                <a:gd name="T32" fmla="*/ 37 w 2963"/>
                <a:gd name="T33" fmla="*/ 20 h 1511"/>
                <a:gd name="T34" fmla="*/ 40 w 2963"/>
                <a:gd name="T35" fmla="*/ 17 h 1511"/>
                <a:gd name="T36" fmla="*/ 40 w 2963"/>
                <a:gd name="T37" fmla="*/ 29 h 1511"/>
                <a:gd name="T38" fmla="*/ 37 w 2963"/>
                <a:gd name="T39" fmla="*/ 32 h 1511"/>
                <a:gd name="T40" fmla="*/ 35 w 2963"/>
                <a:gd name="T41" fmla="*/ 38 h 1511"/>
                <a:gd name="T42" fmla="*/ 34 w 2963"/>
                <a:gd name="T43" fmla="*/ 49 h 1511"/>
                <a:gd name="T44" fmla="*/ 33 w 2963"/>
                <a:gd name="T45" fmla="*/ 52 h 1511"/>
                <a:gd name="T46" fmla="*/ 32 w 2963"/>
                <a:gd name="T47" fmla="*/ 59 h 1511"/>
                <a:gd name="T48" fmla="*/ 32 w 2963"/>
                <a:gd name="T49" fmla="*/ 81 h 1511"/>
                <a:gd name="T50" fmla="*/ 37 w 2963"/>
                <a:gd name="T51" fmla="*/ 91 h 1511"/>
                <a:gd name="T52" fmla="*/ 40 w 2963"/>
                <a:gd name="T53" fmla="*/ 103 h 1511"/>
                <a:gd name="T54" fmla="*/ 41 w 2963"/>
                <a:gd name="T55" fmla="*/ 108 h 1511"/>
                <a:gd name="T56" fmla="*/ 44 w 2963"/>
                <a:gd name="T57" fmla="*/ 84 h 1511"/>
                <a:gd name="T58" fmla="*/ 43 w 2963"/>
                <a:gd name="T59" fmla="*/ 68 h 1511"/>
                <a:gd name="T60" fmla="*/ 43 w 2963"/>
                <a:gd name="T61" fmla="*/ 59 h 1511"/>
                <a:gd name="T62" fmla="*/ 45 w 2963"/>
                <a:gd name="T63" fmla="*/ 53 h 1511"/>
                <a:gd name="T64" fmla="*/ 48 w 2963"/>
                <a:gd name="T65" fmla="*/ 66 h 1511"/>
                <a:gd name="T66" fmla="*/ 48 w 2963"/>
                <a:gd name="T67" fmla="*/ 74 h 1511"/>
                <a:gd name="T68" fmla="*/ 49 w 2963"/>
                <a:gd name="T69" fmla="*/ 73 h 1511"/>
                <a:gd name="T70" fmla="*/ 51 w 2963"/>
                <a:gd name="T71" fmla="*/ 69 h 1511"/>
                <a:gd name="T72" fmla="*/ 52 w 2963"/>
                <a:gd name="T73" fmla="*/ 71 h 1511"/>
                <a:gd name="T74" fmla="*/ 53 w 2963"/>
                <a:gd name="T75" fmla="*/ 74 h 1511"/>
                <a:gd name="T76" fmla="*/ 53 w 2963"/>
                <a:gd name="T77" fmla="*/ 79 h 1511"/>
                <a:gd name="T78" fmla="*/ 53 w 2963"/>
                <a:gd name="T79" fmla="*/ 84 h 1511"/>
                <a:gd name="T80" fmla="*/ 56 w 2963"/>
                <a:gd name="T81" fmla="*/ 92 h 1511"/>
                <a:gd name="T82" fmla="*/ 56 w 2963"/>
                <a:gd name="T83" fmla="*/ 97 h 1511"/>
                <a:gd name="T84" fmla="*/ 57 w 2963"/>
                <a:gd name="T85" fmla="*/ 103 h 1511"/>
                <a:gd name="T86" fmla="*/ 48 w 2963"/>
                <a:gd name="T87" fmla="*/ 126 h 1511"/>
                <a:gd name="T88" fmla="*/ 50 w 2963"/>
                <a:gd name="T89" fmla="*/ 120 h 1511"/>
                <a:gd name="T90" fmla="*/ 54 w 2963"/>
                <a:gd name="T91" fmla="*/ 131 h 1511"/>
                <a:gd name="T92" fmla="*/ 54 w 2963"/>
                <a:gd name="T93" fmla="*/ 132 h 1511"/>
                <a:gd name="T94" fmla="*/ 53 w 2963"/>
                <a:gd name="T95" fmla="*/ 132 h 1511"/>
                <a:gd name="T96" fmla="*/ 49 w 2963"/>
                <a:gd name="T97" fmla="*/ 130 h 1511"/>
                <a:gd name="T98" fmla="*/ 44 w 2963"/>
                <a:gd name="T99" fmla="*/ 136 h 1511"/>
                <a:gd name="T100" fmla="*/ 42 w 2963"/>
                <a:gd name="T101" fmla="*/ 142 h 1511"/>
                <a:gd name="T102" fmla="*/ 40 w 2963"/>
                <a:gd name="T103" fmla="*/ 141 h 1511"/>
                <a:gd name="T104" fmla="*/ 41 w 2963"/>
                <a:gd name="T105" fmla="*/ 134 h 1511"/>
                <a:gd name="T106" fmla="*/ 38 w 2963"/>
                <a:gd name="T107" fmla="*/ 121 h 1511"/>
                <a:gd name="T108" fmla="*/ 36 w 2963"/>
                <a:gd name="T109" fmla="*/ 120 h 1511"/>
                <a:gd name="T110" fmla="*/ 31 w 2963"/>
                <a:gd name="T111" fmla="*/ 115 h 1511"/>
                <a:gd name="T112" fmla="*/ 11 w 2963"/>
                <a:gd name="T113" fmla="*/ 113 h 1511"/>
                <a:gd name="T114" fmla="*/ 9 w 2963"/>
                <a:gd name="T115" fmla="*/ 102 h 1511"/>
                <a:gd name="T116" fmla="*/ 8 w 2963"/>
                <a:gd name="T117" fmla="*/ 85 h 1511"/>
                <a:gd name="T118" fmla="*/ 2 w 2963"/>
                <a:gd name="T119" fmla="*/ 69 h 151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63"/>
                <a:gd name="T181" fmla="*/ 0 h 1511"/>
                <a:gd name="T182" fmla="*/ 2963 w 2963"/>
                <a:gd name="T183" fmla="*/ 1511 h 151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63" h="1511">
                  <a:moveTo>
                    <a:pt x="0" y="671"/>
                  </a:moveTo>
                  <a:lnTo>
                    <a:pt x="0" y="140"/>
                  </a:lnTo>
                  <a:lnTo>
                    <a:pt x="236" y="211"/>
                  </a:lnTo>
                  <a:lnTo>
                    <a:pt x="222" y="181"/>
                  </a:lnTo>
                  <a:lnTo>
                    <a:pt x="247" y="164"/>
                  </a:lnTo>
                  <a:lnTo>
                    <a:pt x="391" y="107"/>
                  </a:lnTo>
                  <a:lnTo>
                    <a:pt x="280" y="178"/>
                  </a:lnTo>
                  <a:lnTo>
                    <a:pt x="344" y="157"/>
                  </a:lnTo>
                  <a:lnTo>
                    <a:pt x="344" y="172"/>
                  </a:lnTo>
                  <a:lnTo>
                    <a:pt x="465" y="109"/>
                  </a:lnTo>
                  <a:lnTo>
                    <a:pt x="449" y="88"/>
                  </a:lnTo>
                  <a:lnTo>
                    <a:pt x="527" y="163"/>
                  </a:lnTo>
                  <a:lnTo>
                    <a:pt x="577" y="119"/>
                  </a:lnTo>
                  <a:lnTo>
                    <a:pt x="572" y="163"/>
                  </a:lnTo>
                  <a:lnTo>
                    <a:pt x="636" y="131"/>
                  </a:lnTo>
                  <a:lnTo>
                    <a:pt x="812" y="186"/>
                  </a:lnTo>
                  <a:lnTo>
                    <a:pt x="892" y="185"/>
                  </a:lnTo>
                  <a:lnTo>
                    <a:pt x="937" y="216"/>
                  </a:lnTo>
                  <a:lnTo>
                    <a:pt x="883" y="242"/>
                  </a:lnTo>
                  <a:lnTo>
                    <a:pt x="915" y="255"/>
                  </a:lnTo>
                  <a:lnTo>
                    <a:pt x="1073" y="240"/>
                  </a:lnTo>
                  <a:lnTo>
                    <a:pt x="1143" y="284"/>
                  </a:lnTo>
                  <a:lnTo>
                    <a:pt x="1152" y="315"/>
                  </a:lnTo>
                  <a:lnTo>
                    <a:pt x="1170" y="295"/>
                  </a:lnTo>
                  <a:lnTo>
                    <a:pt x="1143" y="255"/>
                  </a:lnTo>
                  <a:lnTo>
                    <a:pt x="1217" y="205"/>
                  </a:lnTo>
                  <a:lnTo>
                    <a:pt x="1145" y="236"/>
                  </a:lnTo>
                  <a:lnTo>
                    <a:pt x="1119" y="222"/>
                  </a:lnTo>
                  <a:lnTo>
                    <a:pt x="1208" y="183"/>
                  </a:lnTo>
                  <a:lnTo>
                    <a:pt x="1257" y="238"/>
                  </a:lnTo>
                  <a:lnTo>
                    <a:pt x="1309" y="236"/>
                  </a:lnTo>
                  <a:lnTo>
                    <a:pt x="1342" y="260"/>
                  </a:lnTo>
                  <a:lnTo>
                    <a:pt x="1480" y="255"/>
                  </a:lnTo>
                  <a:lnTo>
                    <a:pt x="1476" y="238"/>
                  </a:lnTo>
                  <a:lnTo>
                    <a:pt x="1514" y="268"/>
                  </a:lnTo>
                  <a:lnTo>
                    <a:pt x="1520" y="242"/>
                  </a:lnTo>
                  <a:lnTo>
                    <a:pt x="1491" y="251"/>
                  </a:lnTo>
                  <a:lnTo>
                    <a:pt x="1468" y="220"/>
                  </a:lnTo>
                  <a:lnTo>
                    <a:pt x="1519" y="216"/>
                  </a:lnTo>
                  <a:lnTo>
                    <a:pt x="1539" y="240"/>
                  </a:lnTo>
                  <a:lnTo>
                    <a:pt x="1559" y="233"/>
                  </a:lnTo>
                  <a:lnTo>
                    <a:pt x="1551" y="271"/>
                  </a:lnTo>
                  <a:lnTo>
                    <a:pt x="1587" y="290"/>
                  </a:lnTo>
                  <a:lnTo>
                    <a:pt x="1578" y="238"/>
                  </a:lnTo>
                  <a:lnTo>
                    <a:pt x="1647" y="207"/>
                  </a:lnTo>
                  <a:lnTo>
                    <a:pt x="1629" y="181"/>
                  </a:lnTo>
                  <a:lnTo>
                    <a:pt x="1609" y="200"/>
                  </a:lnTo>
                  <a:lnTo>
                    <a:pt x="1644" y="154"/>
                  </a:lnTo>
                  <a:lnTo>
                    <a:pt x="1543" y="121"/>
                  </a:lnTo>
                  <a:lnTo>
                    <a:pt x="1553" y="44"/>
                  </a:lnTo>
                  <a:lnTo>
                    <a:pt x="1578" y="46"/>
                  </a:lnTo>
                  <a:lnTo>
                    <a:pt x="1590" y="0"/>
                  </a:lnTo>
                  <a:lnTo>
                    <a:pt x="1666" y="44"/>
                  </a:lnTo>
                  <a:lnTo>
                    <a:pt x="1667" y="72"/>
                  </a:lnTo>
                  <a:lnTo>
                    <a:pt x="1718" y="113"/>
                  </a:lnTo>
                  <a:lnTo>
                    <a:pt x="1687" y="112"/>
                  </a:lnTo>
                  <a:lnTo>
                    <a:pt x="1700" y="126"/>
                  </a:lnTo>
                  <a:lnTo>
                    <a:pt x="1680" y="143"/>
                  </a:lnTo>
                  <a:lnTo>
                    <a:pt x="1742" y="154"/>
                  </a:lnTo>
                  <a:lnTo>
                    <a:pt x="1723" y="163"/>
                  </a:lnTo>
                  <a:lnTo>
                    <a:pt x="1759" y="229"/>
                  </a:lnTo>
                  <a:lnTo>
                    <a:pt x="1790" y="170"/>
                  </a:lnTo>
                  <a:lnTo>
                    <a:pt x="1834" y="194"/>
                  </a:lnTo>
                  <a:lnTo>
                    <a:pt x="1846" y="231"/>
                  </a:lnTo>
                  <a:lnTo>
                    <a:pt x="1825" y="242"/>
                  </a:lnTo>
                  <a:lnTo>
                    <a:pt x="1865" y="290"/>
                  </a:lnTo>
                  <a:lnTo>
                    <a:pt x="1890" y="279"/>
                  </a:lnTo>
                  <a:lnTo>
                    <a:pt x="1920" y="206"/>
                  </a:lnTo>
                  <a:lnTo>
                    <a:pt x="1956" y="198"/>
                  </a:lnTo>
                  <a:lnTo>
                    <a:pt x="1929" y="136"/>
                  </a:lnTo>
                  <a:lnTo>
                    <a:pt x="2028" y="141"/>
                  </a:lnTo>
                  <a:lnTo>
                    <a:pt x="2069" y="178"/>
                  </a:lnTo>
                  <a:lnTo>
                    <a:pt x="2053" y="196"/>
                  </a:lnTo>
                  <a:lnTo>
                    <a:pt x="2072" y="206"/>
                  </a:lnTo>
                  <a:lnTo>
                    <a:pt x="2029" y="217"/>
                  </a:lnTo>
                  <a:lnTo>
                    <a:pt x="2068" y="298"/>
                  </a:lnTo>
                  <a:lnTo>
                    <a:pt x="2003" y="340"/>
                  </a:lnTo>
                  <a:lnTo>
                    <a:pt x="1980" y="321"/>
                  </a:lnTo>
                  <a:lnTo>
                    <a:pt x="1991" y="349"/>
                  </a:lnTo>
                  <a:lnTo>
                    <a:pt x="1891" y="329"/>
                  </a:lnTo>
                  <a:lnTo>
                    <a:pt x="1910" y="356"/>
                  </a:lnTo>
                  <a:lnTo>
                    <a:pt x="1870" y="395"/>
                  </a:lnTo>
                  <a:lnTo>
                    <a:pt x="1768" y="365"/>
                  </a:lnTo>
                  <a:lnTo>
                    <a:pt x="1806" y="398"/>
                  </a:lnTo>
                  <a:lnTo>
                    <a:pt x="1879" y="405"/>
                  </a:lnTo>
                  <a:lnTo>
                    <a:pt x="1828" y="470"/>
                  </a:lnTo>
                  <a:lnTo>
                    <a:pt x="1775" y="466"/>
                  </a:lnTo>
                  <a:lnTo>
                    <a:pt x="1749" y="502"/>
                  </a:lnTo>
                  <a:lnTo>
                    <a:pt x="1653" y="471"/>
                  </a:lnTo>
                  <a:lnTo>
                    <a:pt x="1742" y="502"/>
                  </a:lnTo>
                  <a:lnTo>
                    <a:pt x="1751" y="529"/>
                  </a:lnTo>
                  <a:lnTo>
                    <a:pt x="1687" y="541"/>
                  </a:lnTo>
                  <a:lnTo>
                    <a:pt x="1700" y="547"/>
                  </a:lnTo>
                  <a:lnTo>
                    <a:pt x="1682" y="549"/>
                  </a:lnTo>
                  <a:lnTo>
                    <a:pt x="1682" y="576"/>
                  </a:lnTo>
                  <a:lnTo>
                    <a:pt x="1611" y="613"/>
                  </a:lnTo>
                  <a:lnTo>
                    <a:pt x="1596" y="734"/>
                  </a:lnTo>
                  <a:lnTo>
                    <a:pt x="1623" y="762"/>
                  </a:lnTo>
                  <a:lnTo>
                    <a:pt x="1661" y="746"/>
                  </a:lnTo>
                  <a:lnTo>
                    <a:pt x="1678" y="839"/>
                  </a:lnTo>
                  <a:lnTo>
                    <a:pt x="1733" y="821"/>
                  </a:lnTo>
                  <a:lnTo>
                    <a:pt x="1798" y="847"/>
                  </a:lnTo>
                  <a:lnTo>
                    <a:pt x="1930" y="914"/>
                  </a:lnTo>
                  <a:lnTo>
                    <a:pt x="1920" y="941"/>
                  </a:lnTo>
                  <a:lnTo>
                    <a:pt x="1935" y="920"/>
                  </a:lnTo>
                  <a:lnTo>
                    <a:pt x="2035" y="926"/>
                  </a:lnTo>
                  <a:lnTo>
                    <a:pt x="2035" y="1028"/>
                  </a:lnTo>
                  <a:lnTo>
                    <a:pt x="2066" y="1062"/>
                  </a:lnTo>
                  <a:lnTo>
                    <a:pt x="2044" y="1069"/>
                  </a:lnTo>
                  <a:lnTo>
                    <a:pt x="2094" y="1088"/>
                  </a:lnTo>
                  <a:lnTo>
                    <a:pt x="2079" y="1119"/>
                  </a:lnTo>
                  <a:lnTo>
                    <a:pt x="2127" y="1118"/>
                  </a:lnTo>
                  <a:lnTo>
                    <a:pt x="2192" y="1063"/>
                  </a:lnTo>
                  <a:lnTo>
                    <a:pt x="2164" y="1051"/>
                  </a:lnTo>
                  <a:lnTo>
                    <a:pt x="2127" y="954"/>
                  </a:lnTo>
                  <a:lnTo>
                    <a:pt x="2250" y="870"/>
                  </a:lnTo>
                  <a:lnTo>
                    <a:pt x="2232" y="870"/>
                  </a:lnTo>
                  <a:lnTo>
                    <a:pt x="2205" y="771"/>
                  </a:lnTo>
                  <a:lnTo>
                    <a:pt x="2161" y="746"/>
                  </a:lnTo>
                  <a:lnTo>
                    <a:pt x="2219" y="705"/>
                  </a:lnTo>
                  <a:lnTo>
                    <a:pt x="2198" y="683"/>
                  </a:lnTo>
                  <a:lnTo>
                    <a:pt x="2208" y="647"/>
                  </a:lnTo>
                  <a:lnTo>
                    <a:pt x="2182" y="641"/>
                  </a:lnTo>
                  <a:lnTo>
                    <a:pt x="2208" y="604"/>
                  </a:lnTo>
                  <a:lnTo>
                    <a:pt x="2179" y="581"/>
                  </a:lnTo>
                  <a:lnTo>
                    <a:pt x="2195" y="551"/>
                  </a:lnTo>
                  <a:lnTo>
                    <a:pt x="2289" y="571"/>
                  </a:lnTo>
                  <a:lnTo>
                    <a:pt x="2331" y="554"/>
                  </a:lnTo>
                  <a:lnTo>
                    <a:pt x="2411" y="604"/>
                  </a:lnTo>
                  <a:lnTo>
                    <a:pt x="2411" y="626"/>
                  </a:lnTo>
                  <a:lnTo>
                    <a:pt x="2479" y="630"/>
                  </a:lnTo>
                  <a:lnTo>
                    <a:pt x="2485" y="680"/>
                  </a:lnTo>
                  <a:lnTo>
                    <a:pt x="2424" y="682"/>
                  </a:lnTo>
                  <a:lnTo>
                    <a:pt x="2477" y="690"/>
                  </a:lnTo>
                  <a:lnTo>
                    <a:pt x="2494" y="721"/>
                  </a:lnTo>
                  <a:lnTo>
                    <a:pt x="2437" y="763"/>
                  </a:lnTo>
                  <a:lnTo>
                    <a:pt x="2519" y="741"/>
                  </a:lnTo>
                  <a:lnTo>
                    <a:pt x="2523" y="779"/>
                  </a:lnTo>
                  <a:lnTo>
                    <a:pt x="2488" y="795"/>
                  </a:lnTo>
                  <a:lnTo>
                    <a:pt x="2538" y="756"/>
                  </a:lnTo>
                  <a:lnTo>
                    <a:pt x="2544" y="781"/>
                  </a:lnTo>
                  <a:lnTo>
                    <a:pt x="2590" y="743"/>
                  </a:lnTo>
                  <a:lnTo>
                    <a:pt x="2599" y="763"/>
                  </a:lnTo>
                  <a:lnTo>
                    <a:pt x="2632" y="711"/>
                  </a:lnTo>
                  <a:lnTo>
                    <a:pt x="2621" y="700"/>
                  </a:lnTo>
                  <a:lnTo>
                    <a:pt x="2658" y="671"/>
                  </a:lnTo>
                  <a:lnTo>
                    <a:pt x="2699" y="726"/>
                  </a:lnTo>
                  <a:lnTo>
                    <a:pt x="2664" y="739"/>
                  </a:lnTo>
                  <a:lnTo>
                    <a:pt x="2702" y="732"/>
                  </a:lnTo>
                  <a:lnTo>
                    <a:pt x="2716" y="755"/>
                  </a:lnTo>
                  <a:lnTo>
                    <a:pt x="2691" y="762"/>
                  </a:lnTo>
                  <a:lnTo>
                    <a:pt x="2725" y="766"/>
                  </a:lnTo>
                  <a:lnTo>
                    <a:pt x="2702" y="783"/>
                  </a:lnTo>
                  <a:lnTo>
                    <a:pt x="2726" y="779"/>
                  </a:lnTo>
                  <a:lnTo>
                    <a:pt x="2744" y="804"/>
                  </a:lnTo>
                  <a:lnTo>
                    <a:pt x="2732" y="815"/>
                  </a:lnTo>
                  <a:lnTo>
                    <a:pt x="2766" y="834"/>
                  </a:lnTo>
                  <a:lnTo>
                    <a:pt x="2713" y="855"/>
                  </a:lnTo>
                  <a:lnTo>
                    <a:pt x="2752" y="855"/>
                  </a:lnTo>
                  <a:lnTo>
                    <a:pt x="2743" y="875"/>
                  </a:lnTo>
                  <a:lnTo>
                    <a:pt x="2802" y="893"/>
                  </a:lnTo>
                  <a:lnTo>
                    <a:pt x="2824" y="940"/>
                  </a:lnTo>
                  <a:lnTo>
                    <a:pt x="2845" y="922"/>
                  </a:lnTo>
                  <a:lnTo>
                    <a:pt x="2903" y="953"/>
                  </a:lnTo>
                  <a:lnTo>
                    <a:pt x="2776" y="993"/>
                  </a:lnTo>
                  <a:lnTo>
                    <a:pt x="2802" y="1014"/>
                  </a:lnTo>
                  <a:lnTo>
                    <a:pt x="2910" y="970"/>
                  </a:lnTo>
                  <a:lnTo>
                    <a:pt x="2910" y="1008"/>
                  </a:lnTo>
                  <a:lnTo>
                    <a:pt x="2959" y="1001"/>
                  </a:lnTo>
                  <a:lnTo>
                    <a:pt x="2963" y="1019"/>
                  </a:lnTo>
                  <a:lnTo>
                    <a:pt x="2941" y="1019"/>
                  </a:lnTo>
                  <a:lnTo>
                    <a:pt x="2963" y="1064"/>
                  </a:lnTo>
                  <a:lnTo>
                    <a:pt x="2814" y="1154"/>
                  </a:lnTo>
                  <a:lnTo>
                    <a:pt x="2596" y="1154"/>
                  </a:lnTo>
                  <a:lnTo>
                    <a:pt x="2505" y="1215"/>
                  </a:lnTo>
                  <a:lnTo>
                    <a:pt x="2430" y="1305"/>
                  </a:lnTo>
                  <a:lnTo>
                    <a:pt x="2505" y="1237"/>
                  </a:lnTo>
                  <a:lnTo>
                    <a:pt x="2622" y="1196"/>
                  </a:lnTo>
                  <a:lnTo>
                    <a:pt x="2664" y="1228"/>
                  </a:lnTo>
                  <a:lnTo>
                    <a:pt x="2588" y="1251"/>
                  </a:lnTo>
                  <a:lnTo>
                    <a:pt x="2648" y="1265"/>
                  </a:lnTo>
                  <a:lnTo>
                    <a:pt x="2632" y="1292"/>
                  </a:lnTo>
                  <a:lnTo>
                    <a:pt x="2678" y="1342"/>
                  </a:lnTo>
                  <a:lnTo>
                    <a:pt x="2769" y="1360"/>
                  </a:lnTo>
                  <a:lnTo>
                    <a:pt x="2793" y="1298"/>
                  </a:lnTo>
                  <a:lnTo>
                    <a:pt x="2793" y="1336"/>
                  </a:lnTo>
                  <a:lnTo>
                    <a:pt x="2818" y="1332"/>
                  </a:lnTo>
                  <a:lnTo>
                    <a:pt x="2775" y="1372"/>
                  </a:lnTo>
                  <a:lnTo>
                    <a:pt x="2667" y="1399"/>
                  </a:lnTo>
                  <a:lnTo>
                    <a:pt x="2630" y="1446"/>
                  </a:lnTo>
                  <a:lnTo>
                    <a:pt x="2599" y="1404"/>
                  </a:lnTo>
                  <a:lnTo>
                    <a:pt x="2700" y="1368"/>
                  </a:lnTo>
                  <a:lnTo>
                    <a:pt x="2648" y="1369"/>
                  </a:lnTo>
                  <a:lnTo>
                    <a:pt x="2658" y="1342"/>
                  </a:lnTo>
                  <a:lnTo>
                    <a:pt x="2570" y="1374"/>
                  </a:lnTo>
                  <a:lnTo>
                    <a:pt x="2544" y="1353"/>
                  </a:lnTo>
                  <a:lnTo>
                    <a:pt x="2544" y="1298"/>
                  </a:lnTo>
                  <a:lnTo>
                    <a:pt x="2486" y="1280"/>
                  </a:lnTo>
                  <a:lnTo>
                    <a:pt x="2444" y="1370"/>
                  </a:lnTo>
                  <a:lnTo>
                    <a:pt x="2266" y="1404"/>
                  </a:lnTo>
                  <a:lnTo>
                    <a:pt x="2145" y="1440"/>
                  </a:lnTo>
                  <a:lnTo>
                    <a:pt x="2124" y="1457"/>
                  </a:lnTo>
                  <a:lnTo>
                    <a:pt x="2153" y="1461"/>
                  </a:lnTo>
                  <a:lnTo>
                    <a:pt x="2159" y="1474"/>
                  </a:lnTo>
                  <a:lnTo>
                    <a:pt x="2011" y="1511"/>
                  </a:lnTo>
                  <a:lnTo>
                    <a:pt x="2019" y="1494"/>
                  </a:lnTo>
                  <a:lnTo>
                    <a:pt x="2029" y="1483"/>
                  </a:lnTo>
                  <a:lnTo>
                    <a:pt x="2034" y="1465"/>
                  </a:lnTo>
                  <a:lnTo>
                    <a:pt x="2056" y="1452"/>
                  </a:lnTo>
                  <a:lnTo>
                    <a:pt x="2061" y="1372"/>
                  </a:lnTo>
                  <a:lnTo>
                    <a:pt x="2086" y="1399"/>
                  </a:lnTo>
                  <a:lnTo>
                    <a:pt x="2129" y="1390"/>
                  </a:lnTo>
                  <a:lnTo>
                    <a:pt x="2091" y="1342"/>
                  </a:lnTo>
                  <a:lnTo>
                    <a:pt x="1964" y="1319"/>
                  </a:lnTo>
                  <a:lnTo>
                    <a:pt x="1959" y="1319"/>
                  </a:lnTo>
                  <a:lnTo>
                    <a:pt x="1946" y="1255"/>
                  </a:lnTo>
                  <a:lnTo>
                    <a:pt x="1920" y="1259"/>
                  </a:lnTo>
                  <a:lnTo>
                    <a:pt x="1898" y="1222"/>
                  </a:lnTo>
                  <a:lnTo>
                    <a:pt x="1870" y="1220"/>
                  </a:lnTo>
                  <a:lnTo>
                    <a:pt x="1870" y="1242"/>
                  </a:lnTo>
                  <a:lnTo>
                    <a:pt x="1837" y="1209"/>
                  </a:lnTo>
                  <a:lnTo>
                    <a:pt x="1777" y="1255"/>
                  </a:lnTo>
                  <a:lnTo>
                    <a:pt x="1613" y="1222"/>
                  </a:lnTo>
                  <a:lnTo>
                    <a:pt x="1592" y="1190"/>
                  </a:lnTo>
                  <a:lnTo>
                    <a:pt x="1590" y="1211"/>
                  </a:lnTo>
                  <a:lnTo>
                    <a:pt x="635" y="1211"/>
                  </a:lnTo>
                  <a:lnTo>
                    <a:pt x="620" y="1177"/>
                  </a:lnTo>
                  <a:lnTo>
                    <a:pt x="569" y="1166"/>
                  </a:lnTo>
                  <a:lnTo>
                    <a:pt x="571" y="1144"/>
                  </a:lnTo>
                  <a:lnTo>
                    <a:pt x="465" y="1113"/>
                  </a:lnTo>
                  <a:lnTo>
                    <a:pt x="477" y="1097"/>
                  </a:lnTo>
                  <a:lnTo>
                    <a:pt x="452" y="1055"/>
                  </a:lnTo>
                  <a:lnTo>
                    <a:pt x="426" y="1051"/>
                  </a:lnTo>
                  <a:lnTo>
                    <a:pt x="367" y="960"/>
                  </a:lnTo>
                  <a:lnTo>
                    <a:pt x="377" y="932"/>
                  </a:lnTo>
                  <a:lnTo>
                    <a:pt x="380" y="882"/>
                  </a:lnTo>
                  <a:lnTo>
                    <a:pt x="314" y="855"/>
                  </a:lnTo>
                  <a:lnTo>
                    <a:pt x="191" y="695"/>
                  </a:lnTo>
                  <a:lnTo>
                    <a:pt x="121" y="740"/>
                  </a:lnTo>
                  <a:lnTo>
                    <a:pt x="103" y="719"/>
                  </a:lnTo>
                  <a:lnTo>
                    <a:pt x="98" y="715"/>
                  </a:lnTo>
                  <a:lnTo>
                    <a:pt x="63" y="671"/>
                  </a:lnTo>
                  <a:lnTo>
                    <a:pt x="0" y="671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7" name="Freeform 26"/>
            <p:cNvSpPr>
              <a:spLocks noChangeAspect="1"/>
            </p:cNvSpPr>
            <p:nvPr/>
          </p:nvSpPr>
          <p:spPr bwMode="gray">
            <a:xfrm>
              <a:off x="1051548" y="2632488"/>
              <a:ext cx="125578" cy="84612"/>
            </a:xfrm>
            <a:custGeom>
              <a:avLst/>
              <a:gdLst>
                <a:gd name="T0" fmla="*/ 0 w 174"/>
                <a:gd name="T1" fmla="*/ 0 h 101"/>
                <a:gd name="T2" fmla="*/ 2 w 174"/>
                <a:gd name="T3" fmla="*/ 2 h 101"/>
                <a:gd name="T4" fmla="*/ 4 w 174"/>
                <a:gd name="T5" fmla="*/ 6 h 101"/>
                <a:gd name="T6" fmla="*/ 3 w 174"/>
                <a:gd name="T7" fmla="*/ 5 h 101"/>
                <a:gd name="T8" fmla="*/ 0 w 174"/>
                <a:gd name="T9" fmla="*/ 0 h 10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4"/>
                <a:gd name="T16" fmla="*/ 0 h 101"/>
                <a:gd name="T17" fmla="*/ 174 w 174"/>
                <a:gd name="T18" fmla="*/ 101 h 10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4" h="101">
                  <a:moveTo>
                    <a:pt x="0" y="0"/>
                  </a:moveTo>
                  <a:lnTo>
                    <a:pt x="95" y="20"/>
                  </a:lnTo>
                  <a:lnTo>
                    <a:pt x="174" y="101"/>
                  </a:lnTo>
                  <a:lnTo>
                    <a:pt x="128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8" name="Freeform 27"/>
            <p:cNvSpPr>
              <a:spLocks noChangeAspect="1"/>
            </p:cNvSpPr>
            <p:nvPr/>
          </p:nvSpPr>
          <p:spPr bwMode="gray">
            <a:xfrm>
              <a:off x="1112805" y="1504324"/>
              <a:ext cx="260345" cy="197429"/>
            </a:xfrm>
            <a:custGeom>
              <a:avLst/>
              <a:gdLst>
                <a:gd name="T0" fmla="*/ 0 w 362"/>
                <a:gd name="T1" fmla="*/ 19 h 225"/>
                <a:gd name="T2" fmla="*/ 0 w 362"/>
                <a:gd name="T3" fmla="*/ 16 h 225"/>
                <a:gd name="T4" fmla="*/ 1 w 362"/>
                <a:gd name="T5" fmla="*/ 5 h 225"/>
                <a:gd name="T6" fmla="*/ 1 w 362"/>
                <a:gd name="T7" fmla="*/ 1 h 225"/>
                <a:gd name="T8" fmla="*/ 3 w 362"/>
                <a:gd name="T9" fmla="*/ 0 h 225"/>
                <a:gd name="T10" fmla="*/ 4 w 362"/>
                <a:gd name="T11" fmla="*/ 4 h 225"/>
                <a:gd name="T12" fmla="*/ 5 w 362"/>
                <a:gd name="T13" fmla="*/ 2 h 225"/>
                <a:gd name="T14" fmla="*/ 7 w 362"/>
                <a:gd name="T15" fmla="*/ 8 h 225"/>
                <a:gd name="T16" fmla="*/ 4 w 362"/>
                <a:gd name="T17" fmla="*/ 17 h 225"/>
                <a:gd name="T18" fmla="*/ 3 w 362"/>
                <a:gd name="T19" fmla="*/ 23 h 225"/>
                <a:gd name="T20" fmla="*/ 2 w 362"/>
                <a:gd name="T21" fmla="*/ 25 h 225"/>
                <a:gd name="T22" fmla="*/ 1 w 362"/>
                <a:gd name="T23" fmla="*/ 21 h 225"/>
                <a:gd name="T24" fmla="*/ 0 w 362"/>
                <a:gd name="T25" fmla="*/ 19 h 2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2"/>
                <a:gd name="T40" fmla="*/ 0 h 225"/>
                <a:gd name="T41" fmla="*/ 362 w 362"/>
                <a:gd name="T42" fmla="*/ 225 h 2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2" h="225">
                  <a:moveTo>
                    <a:pt x="0" y="170"/>
                  </a:moveTo>
                  <a:lnTo>
                    <a:pt x="15" y="141"/>
                  </a:lnTo>
                  <a:lnTo>
                    <a:pt x="67" y="47"/>
                  </a:lnTo>
                  <a:lnTo>
                    <a:pt x="42" y="9"/>
                  </a:lnTo>
                  <a:lnTo>
                    <a:pt x="155" y="0"/>
                  </a:lnTo>
                  <a:lnTo>
                    <a:pt x="232" y="37"/>
                  </a:lnTo>
                  <a:lnTo>
                    <a:pt x="283" y="15"/>
                  </a:lnTo>
                  <a:lnTo>
                    <a:pt x="362" y="69"/>
                  </a:lnTo>
                  <a:lnTo>
                    <a:pt x="195" y="151"/>
                  </a:lnTo>
                  <a:lnTo>
                    <a:pt x="181" y="201"/>
                  </a:lnTo>
                  <a:lnTo>
                    <a:pt x="99" y="225"/>
                  </a:lnTo>
                  <a:lnTo>
                    <a:pt x="62" y="185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9" name="Freeform 28"/>
            <p:cNvSpPr>
              <a:spLocks noChangeAspect="1"/>
            </p:cNvSpPr>
            <p:nvPr/>
          </p:nvSpPr>
          <p:spPr bwMode="gray">
            <a:xfrm>
              <a:off x="1186315" y="1326804"/>
              <a:ext cx="182242" cy="106180"/>
            </a:xfrm>
            <a:custGeom>
              <a:avLst/>
              <a:gdLst>
                <a:gd name="T0" fmla="*/ 0 w 254"/>
                <a:gd name="T1" fmla="*/ 6 h 127"/>
                <a:gd name="T2" fmla="*/ 1 w 254"/>
                <a:gd name="T3" fmla="*/ 7 h 127"/>
                <a:gd name="T4" fmla="*/ 1 w 254"/>
                <a:gd name="T5" fmla="*/ 5 h 127"/>
                <a:gd name="T6" fmla="*/ 1 w 254"/>
                <a:gd name="T7" fmla="*/ 7 h 127"/>
                <a:gd name="T8" fmla="*/ 2 w 254"/>
                <a:gd name="T9" fmla="*/ 6 h 127"/>
                <a:gd name="T10" fmla="*/ 2 w 254"/>
                <a:gd name="T11" fmla="*/ 5 h 127"/>
                <a:gd name="T12" fmla="*/ 2 w 254"/>
                <a:gd name="T13" fmla="*/ 6 h 127"/>
                <a:gd name="T14" fmla="*/ 3 w 254"/>
                <a:gd name="T15" fmla="*/ 3 h 127"/>
                <a:gd name="T16" fmla="*/ 3 w 254"/>
                <a:gd name="T17" fmla="*/ 3 h 127"/>
                <a:gd name="T18" fmla="*/ 3 w 254"/>
                <a:gd name="T19" fmla="*/ 5 h 127"/>
                <a:gd name="T20" fmla="*/ 4 w 254"/>
                <a:gd name="T21" fmla="*/ 4 h 127"/>
                <a:gd name="T22" fmla="*/ 4 w 254"/>
                <a:gd name="T23" fmla="*/ 2 h 127"/>
                <a:gd name="T24" fmla="*/ 5 w 254"/>
                <a:gd name="T25" fmla="*/ 1 h 127"/>
                <a:gd name="T26" fmla="*/ 4 w 254"/>
                <a:gd name="T27" fmla="*/ 0 h 127"/>
                <a:gd name="T28" fmla="*/ 2 w 254"/>
                <a:gd name="T29" fmla="*/ 1 h 127"/>
                <a:gd name="T30" fmla="*/ 0 w 254"/>
                <a:gd name="T31" fmla="*/ 6 h 1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4"/>
                <a:gd name="T49" fmla="*/ 0 h 127"/>
                <a:gd name="T50" fmla="*/ 254 w 254"/>
                <a:gd name="T51" fmla="*/ 127 h 12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4" h="127">
                  <a:moveTo>
                    <a:pt x="0" y="96"/>
                  </a:moveTo>
                  <a:lnTo>
                    <a:pt x="58" y="115"/>
                  </a:lnTo>
                  <a:lnTo>
                    <a:pt x="73" y="95"/>
                  </a:lnTo>
                  <a:lnTo>
                    <a:pt x="85" y="127"/>
                  </a:lnTo>
                  <a:lnTo>
                    <a:pt x="112" y="113"/>
                  </a:lnTo>
                  <a:lnTo>
                    <a:pt x="108" y="84"/>
                  </a:lnTo>
                  <a:lnTo>
                    <a:pt x="135" y="101"/>
                  </a:lnTo>
                  <a:lnTo>
                    <a:pt x="151" y="55"/>
                  </a:lnTo>
                  <a:lnTo>
                    <a:pt x="174" y="52"/>
                  </a:lnTo>
                  <a:lnTo>
                    <a:pt x="183" y="94"/>
                  </a:lnTo>
                  <a:lnTo>
                    <a:pt x="237" y="62"/>
                  </a:lnTo>
                  <a:lnTo>
                    <a:pt x="220" y="26"/>
                  </a:lnTo>
                  <a:lnTo>
                    <a:pt x="254" y="18"/>
                  </a:lnTo>
                  <a:lnTo>
                    <a:pt x="218" y="0"/>
                  </a:lnTo>
                  <a:lnTo>
                    <a:pt x="126" y="18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0" name="Freeform 29"/>
            <p:cNvSpPr>
              <a:spLocks noChangeAspect="1"/>
            </p:cNvSpPr>
            <p:nvPr/>
          </p:nvSpPr>
          <p:spPr bwMode="gray">
            <a:xfrm>
              <a:off x="1282796" y="1577323"/>
              <a:ext cx="451776" cy="265450"/>
            </a:xfrm>
            <a:custGeom>
              <a:avLst/>
              <a:gdLst>
                <a:gd name="T0" fmla="*/ 0 w 627"/>
                <a:gd name="T1" fmla="*/ 9 h 307"/>
                <a:gd name="T2" fmla="*/ 0 w 627"/>
                <a:gd name="T3" fmla="*/ 7 h 307"/>
                <a:gd name="T4" fmla="*/ 0 w 627"/>
                <a:gd name="T5" fmla="*/ 5 h 307"/>
                <a:gd name="T6" fmla="*/ 2 w 627"/>
                <a:gd name="T7" fmla="*/ 2 h 307"/>
                <a:gd name="T8" fmla="*/ 3 w 627"/>
                <a:gd name="T9" fmla="*/ 0 h 307"/>
                <a:gd name="T10" fmla="*/ 3 w 627"/>
                <a:gd name="T11" fmla="*/ 3 h 307"/>
                <a:gd name="T12" fmla="*/ 3 w 627"/>
                <a:gd name="T13" fmla="*/ 5 h 307"/>
                <a:gd name="T14" fmla="*/ 4 w 627"/>
                <a:gd name="T15" fmla="*/ 2 h 307"/>
                <a:gd name="T16" fmla="*/ 5 w 627"/>
                <a:gd name="T17" fmla="*/ 4 h 307"/>
                <a:gd name="T18" fmla="*/ 5 w 627"/>
                <a:gd name="T19" fmla="*/ 6 h 307"/>
                <a:gd name="T20" fmla="*/ 6 w 627"/>
                <a:gd name="T21" fmla="*/ 5 h 307"/>
                <a:gd name="T22" fmla="*/ 6 w 627"/>
                <a:gd name="T23" fmla="*/ 3 h 307"/>
                <a:gd name="T24" fmla="*/ 6 w 627"/>
                <a:gd name="T25" fmla="*/ 3 h 307"/>
                <a:gd name="T26" fmla="*/ 8 w 627"/>
                <a:gd name="T27" fmla="*/ 10 h 307"/>
                <a:gd name="T28" fmla="*/ 8 w 627"/>
                <a:gd name="T29" fmla="*/ 8 h 307"/>
                <a:gd name="T30" fmla="*/ 8 w 627"/>
                <a:gd name="T31" fmla="*/ 1 h 307"/>
                <a:gd name="T32" fmla="*/ 8 w 627"/>
                <a:gd name="T33" fmla="*/ 1 h 307"/>
                <a:gd name="T34" fmla="*/ 9 w 627"/>
                <a:gd name="T35" fmla="*/ 3 h 307"/>
                <a:gd name="T36" fmla="*/ 10 w 627"/>
                <a:gd name="T37" fmla="*/ 14 h 307"/>
                <a:gd name="T38" fmla="*/ 12 w 627"/>
                <a:gd name="T39" fmla="*/ 18 h 307"/>
                <a:gd name="T40" fmla="*/ 12 w 627"/>
                <a:gd name="T41" fmla="*/ 21 h 307"/>
                <a:gd name="T42" fmla="*/ 11 w 627"/>
                <a:gd name="T43" fmla="*/ 20 h 307"/>
                <a:gd name="T44" fmla="*/ 11 w 627"/>
                <a:gd name="T45" fmla="*/ 21 h 307"/>
                <a:gd name="T46" fmla="*/ 12 w 627"/>
                <a:gd name="T47" fmla="*/ 24 h 307"/>
                <a:gd name="T48" fmla="*/ 11 w 627"/>
                <a:gd name="T49" fmla="*/ 26 h 307"/>
                <a:gd name="T50" fmla="*/ 9 w 627"/>
                <a:gd name="T51" fmla="*/ 25 h 307"/>
                <a:gd name="T52" fmla="*/ 8 w 627"/>
                <a:gd name="T53" fmla="*/ 22 h 307"/>
                <a:gd name="T54" fmla="*/ 7 w 627"/>
                <a:gd name="T55" fmla="*/ 27 h 307"/>
                <a:gd name="T56" fmla="*/ 4 w 627"/>
                <a:gd name="T57" fmla="*/ 28 h 307"/>
                <a:gd name="T58" fmla="*/ 3 w 627"/>
                <a:gd name="T59" fmla="*/ 23 h 307"/>
                <a:gd name="T60" fmla="*/ 2 w 627"/>
                <a:gd name="T61" fmla="*/ 23 h 307"/>
                <a:gd name="T62" fmla="*/ 1 w 627"/>
                <a:gd name="T63" fmla="*/ 19 h 307"/>
                <a:gd name="T64" fmla="*/ 5 w 627"/>
                <a:gd name="T65" fmla="*/ 17 h 307"/>
                <a:gd name="T66" fmla="*/ 1 w 627"/>
                <a:gd name="T67" fmla="*/ 16 h 307"/>
                <a:gd name="T68" fmla="*/ 0 w 627"/>
                <a:gd name="T69" fmla="*/ 14 h 307"/>
                <a:gd name="T70" fmla="*/ 2 w 627"/>
                <a:gd name="T71" fmla="*/ 11 h 307"/>
                <a:gd name="T72" fmla="*/ 0 w 627"/>
                <a:gd name="T73" fmla="*/ 11 h 307"/>
                <a:gd name="T74" fmla="*/ 1 w 627"/>
                <a:gd name="T75" fmla="*/ 10 h 307"/>
                <a:gd name="T76" fmla="*/ 0 w 627"/>
                <a:gd name="T77" fmla="*/ 9 h 30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27"/>
                <a:gd name="T118" fmla="*/ 0 h 307"/>
                <a:gd name="T119" fmla="*/ 627 w 627"/>
                <a:gd name="T120" fmla="*/ 307 h 30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27" h="307">
                  <a:moveTo>
                    <a:pt x="0" y="99"/>
                  </a:moveTo>
                  <a:lnTo>
                    <a:pt x="32" y="74"/>
                  </a:lnTo>
                  <a:lnTo>
                    <a:pt x="16" y="61"/>
                  </a:lnTo>
                  <a:lnTo>
                    <a:pt x="91" y="17"/>
                  </a:lnTo>
                  <a:lnTo>
                    <a:pt x="152" y="0"/>
                  </a:lnTo>
                  <a:lnTo>
                    <a:pt x="172" y="31"/>
                  </a:lnTo>
                  <a:lnTo>
                    <a:pt x="151" y="50"/>
                  </a:lnTo>
                  <a:lnTo>
                    <a:pt x="206" y="24"/>
                  </a:lnTo>
                  <a:lnTo>
                    <a:pt x="267" y="45"/>
                  </a:lnTo>
                  <a:lnTo>
                    <a:pt x="245" y="68"/>
                  </a:lnTo>
                  <a:lnTo>
                    <a:pt x="316" y="52"/>
                  </a:lnTo>
                  <a:lnTo>
                    <a:pt x="296" y="27"/>
                  </a:lnTo>
                  <a:lnTo>
                    <a:pt x="324" y="30"/>
                  </a:lnTo>
                  <a:lnTo>
                    <a:pt x="381" y="112"/>
                  </a:lnTo>
                  <a:lnTo>
                    <a:pt x="400" y="93"/>
                  </a:lnTo>
                  <a:lnTo>
                    <a:pt x="377" y="2"/>
                  </a:lnTo>
                  <a:lnTo>
                    <a:pt x="423" y="5"/>
                  </a:lnTo>
                  <a:lnTo>
                    <a:pt x="474" y="35"/>
                  </a:lnTo>
                  <a:lnTo>
                    <a:pt x="502" y="149"/>
                  </a:lnTo>
                  <a:lnTo>
                    <a:pt x="627" y="203"/>
                  </a:lnTo>
                  <a:lnTo>
                    <a:pt x="625" y="232"/>
                  </a:lnTo>
                  <a:lnTo>
                    <a:pt x="591" y="220"/>
                  </a:lnTo>
                  <a:lnTo>
                    <a:pt x="553" y="239"/>
                  </a:lnTo>
                  <a:lnTo>
                    <a:pt x="606" y="264"/>
                  </a:lnTo>
                  <a:lnTo>
                    <a:pt x="558" y="289"/>
                  </a:lnTo>
                  <a:lnTo>
                    <a:pt x="477" y="277"/>
                  </a:lnTo>
                  <a:lnTo>
                    <a:pt x="431" y="245"/>
                  </a:lnTo>
                  <a:lnTo>
                    <a:pt x="328" y="297"/>
                  </a:lnTo>
                  <a:lnTo>
                    <a:pt x="198" y="307"/>
                  </a:lnTo>
                  <a:lnTo>
                    <a:pt x="173" y="259"/>
                  </a:lnTo>
                  <a:lnTo>
                    <a:pt x="102" y="255"/>
                  </a:lnTo>
                  <a:lnTo>
                    <a:pt x="57" y="214"/>
                  </a:lnTo>
                  <a:lnTo>
                    <a:pt x="238" y="188"/>
                  </a:lnTo>
                  <a:lnTo>
                    <a:pt x="49" y="176"/>
                  </a:lnTo>
                  <a:lnTo>
                    <a:pt x="25" y="150"/>
                  </a:lnTo>
                  <a:lnTo>
                    <a:pt x="121" y="121"/>
                  </a:lnTo>
                  <a:lnTo>
                    <a:pt x="32" y="126"/>
                  </a:lnTo>
                  <a:lnTo>
                    <a:pt x="39" y="112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1" name="Freeform 30"/>
            <p:cNvSpPr>
              <a:spLocks noChangeAspect="1"/>
            </p:cNvSpPr>
            <p:nvPr/>
          </p:nvSpPr>
          <p:spPr bwMode="gray">
            <a:xfrm>
              <a:off x="1316487" y="1363304"/>
              <a:ext cx="304757" cy="147657"/>
            </a:xfrm>
            <a:custGeom>
              <a:avLst/>
              <a:gdLst>
                <a:gd name="T0" fmla="*/ 0 w 424"/>
                <a:gd name="T1" fmla="*/ 11 h 170"/>
                <a:gd name="T2" fmla="*/ 0 w 424"/>
                <a:gd name="T3" fmla="*/ 9 h 170"/>
                <a:gd name="T4" fmla="*/ 2 w 424"/>
                <a:gd name="T5" fmla="*/ 8 h 170"/>
                <a:gd name="T6" fmla="*/ 0 w 424"/>
                <a:gd name="T7" fmla="*/ 8 h 170"/>
                <a:gd name="T8" fmla="*/ 2 w 424"/>
                <a:gd name="T9" fmla="*/ 7 h 170"/>
                <a:gd name="T10" fmla="*/ 0 w 424"/>
                <a:gd name="T11" fmla="*/ 7 h 170"/>
                <a:gd name="T12" fmla="*/ 0 w 424"/>
                <a:gd name="T13" fmla="*/ 5 h 170"/>
                <a:gd name="T14" fmla="*/ 2 w 424"/>
                <a:gd name="T15" fmla="*/ 5 h 170"/>
                <a:gd name="T16" fmla="*/ 1 w 424"/>
                <a:gd name="T17" fmla="*/ 4 h 170"/>
                <a:gd name="T18" fmla="*/ 2 w 424"/>
                <a:gd name="T19" fmla="*/ 3 h 170"/>
                <a:gd name="T20" fmla="*/ 3 w 424"/>
                <a:gd name="T21" fmla="*/ 5 h 170"/>
                <a:gd name="T22" fmla="*/ 4 w 424"/>
                <a:gd name="T23" fmla="*/ 9 h 170"/>
                <a:gd name="T24" fmla="*/ 6 w 424"/>
                <a:gd name="T25" fmla="*/ 9 h 170"/>
                <a:gd name="T26" fmla="*/ 5 w 424"/>
                <a:gd name="T27" fmla="*/ 7 h 170"/>
                <a:gd name="T28" fmla="*/ 5 w 424"/>
                <a:gd name="T29" fmla="*/ 5 h 170"/>
                <a:gd name="T30" fmla="*/ 5 w 424"/>
                <a:gd name="T31" fmla="*/ 3 h 170"/>
                <a:gd name="T32" fmla="*/ 6 w 424"/>
                <a:gd name="T33" fmla="*/ 0 h 170"/>
                <a:gd name="T34" fmla="*/ 7 w 424"/>
                <a:gd name="T35" fmla="*/ 4 h 170"/>
                <a:gd name="T36" fmla="*/ 6 w 424"/>
                <a:gd name="T37" fmla="*/ 5 h 170"/>
                <a:gd name="T38" fmla="*/ 7 w 424"/>
                <a:gd name="T39" fmla="*/ 6 h 170"/>
                <a:gd name="T40" fmla="*/ 7 w 424"/>
                <a:gd name="T41" fmla="*/ 8 h 170"/>
                <a:gd name="T42" fmla="*/ 7 w 424"/>
                <a:gd name="T43" fmla="*/ 8 h 170"/>
                <a:gd name="T44" fmla="*/ 8 w 424"/>
                <a:gd name="T45" fmla="*/ 6 h 170"/>
                <a:gd name="T46" fmla="*/ 8 w 424"/>
                <a:gd name="T47" fmla="*/ 9 h 170"/>
                <a:gd name="T48" fmla="*/ 8 w 424"/>
                <a:gd name="T49" fmla="*/ 13 h 170"/>
                <a:gd name="T50" fmla="*/ 6 w 424"/>
                <a:gd name="T51" fmla="*/ 12 h 170"/>
                <a:gd name="T52" fmla="*/ 3 w 424"/>
                <a:gd name="T53" fmla="*/ 16 h 170"/>
                <a:gd name="T54" fmla="*/ 2 w 424"/>
                <a:gd name="T55" fmla="*/ 14 h 170"/>
                <a:gd name="T56" fmla="*/ 4 w 424"/>
                <a:gd name="T57" fmla="*/ 10 h 170"/>
                <a:gd name="T58" fmla="*/ 2 w 424"/>
                <a:gd name="T59" fmla="*/ 13 h 170"/>
                <a:gd name="T60" fmla="*/ 3 w 424"/>
                <a:gd name="T61" fmla="*/ 10 h 170"/>
                <a:gd name="T62" fmla="*/ 2 w 424"/>
                <a:gd name="T63" fmla="*/ 13 h 170"/>
                <a:gd name="T64" fmla="*/ 0 w 424"/>
                <a:gd name="T65" fmla="*/ 12 h 170"/>
                <a:gd name="T66" fmla="*/ 0 w 424"/>
                <a:gd name="T67" fmla="*/ 11 h 17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24"/>
                <a:gd name="T103" fmla="*/ 0 h 170"/>
                <a:gd name="T104" fmla="*/ 424 w 424"/>
                <a:gd name="T105" fmla="*/ 170 h 17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24" h="170">
                  <a:moveTo>
                    <a:pt x="0" y="113"/>
                  </a:moveTo>
                  <a:lnTo>
                    <a:pt x="15" y="99"/>
                  </a:lnTo>
                  <a:lnTo>
                    <a:pt x="89" y="83"/>
                  </a:lnTo>
                  <a:lnTo>
                    <a:pt x="15" y="86"/>
                  </a:lnTo>
                  <a:lnTo>
                    <a:pt x="100" y="69"/>
                  </a:lnTo>
                  <a:lnTo>
                    <a:pt x="31" y="69"/>
                  </a:lnTo>
                  <a:lnTo>
                    <a:pt x="37" y="50"/>
                  </a:lnTo>
                  <a:lnTo>
                    <a:pt x="102" y="49"/>
                  </a:lnTo>
                  <a:lnTo>
                    <a:pt x="57" y="45"/>
                  </a:lnTo>
                  <a:lnTo>
                    <a:pt x="93" y="28"/>
                  </a:lnTo>
                  <a:lnTo>
                    <a:pt x="178" y="49"/>
                  </a:lnTo>
                  <a:lnTo>
                    <a:pt x="221" y="92"/>
                  </a:lnTo>
                  <a:lnTo>
                    <a:pt x="302" y="94"/>
                  </a:lnTo>
                  <a:lnTo>
                    <a:pt x="270" y="69"/>
                  </a:lnTo>
                  <a:lnTo>
                    <a:pt x="288" y="52"/>
                  </a:lnTo>
                  <a:lnTo>
                    <a:pt x="253" y="32"/>
                  </a:lnTo>
                  <a:lnTo>
                    <a:pt x="309" y="0"/>
                  </a:lnTo>
                  <a:lnTo>
                    <a:pt x="333" y="38"/>
                  </a:lnTo>
                  <a:lnTo>
                    <a:pt x="316" y="55"/>
                  </a:lnTo>
                  <a:lnTo>
                    <a:pt x="347" y="60"/>
                  </a:lnTo>
                  <a:lnTo>
                    <a:pt x="336" y="80"/>
                  </a:lnTo>
                  <a:lnTo>
                    <a:pt x="376" y="85"/>
                  </a:lnTo>
                  <a:lnTo>
                    <a:pt x="397" y="59"/>
                  </a:lnTo>
                  <a:lnTo>
                    <a:pt x="424" y="90"/>
                  </a:lnTo>
                  <a:lnTo>
                    <a:pt x="403" y="127"/>
                  </a:lnTo>
                  <a:lnTo>
                    <a:pt x="311" y="125"/>
                  </a:lnTo>
                  <a:lnTo>
                    <a:pt x="172" y="170"/>
                  </a:lnTo>
                  <a:lnTo>
                    <a:pt x="115" y="147"/>
                  </a:lnTo>
                  <a:lnTo>
                    <a:pt x="233" y="109"/>
                  </a:lnTo>
                  <a:lnTo>
                    <a:pt x="132" y="132"/>
                  </a:lnTo>
                  <a:lnTo>
                    <a:pt x="149" y="101"/>
                  </a:lnTo>
                  <a:lnTo>
                    <a:pt x="97" y="134"/>
                  </a:lnTo>
                  <a:lnTo>
                    <a:pt x="37" y="125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2" name="Freeform 31"/>
            <p:cNvSpPr>
              <a:spLocks noChangeAspect="1"/>
            </p:cNvSpPr>
            <p:nvPr/>
          </p:nvSpPr>
          <p:spPr bwMode="gray">
            <a:xfrm>
              <a:off x="1621245" y="1209011"/>
              <a:ext cx="157739" cy="96226"/>
            </a:xfrm>
            <a:custGeom>
              <a:avLst/>
              <a:gdLst>
                <a:gd name="T0" fmla="*/ 0 w 220"/>
                <a:gd name="T1" fmla="*/ 0 h 106"/>
                <a:gd name="T2" fmla="*/ 0 w 220"/>
                <a:gd name="T3" fmla="*/ 7 h 106"/>
                <a:gd name="T4" fmla="*/ 1 w 220"/>
                <a:gd name="T5" fmla="*/ 7 h 106"/>
                <a:gd name="T6" fmla="*/ 1 w 220"/>
                <a:gd name="T7" fmla="*/ 9 h 106"/>
                <a:gd name="T8" fmla="*/ 1 w 220"/>
                <a:gd name="T9" fmla="*/ 11 h 106"/>
                <a:gd name="T10" fmla="*/ 0 w 220"/>
                <a:gd name="T11" fmla="*/ 12 h 106"/>
                <a:gd name="T12" fmla="*/ 2 w 220"/>
                <a:gd name="T13" fmla="*/ 15 h 106"/>
                <a:gd name="T14" fmla="*/ 4 w 220"/>
                <a:gd name="T15" fmla="*/ 20 h 106"/>
                <a:gd name="T16" fmla="*/ 4 w 220"/>
                <a:gd name="T17" fmla="*/ 8 h 106"/>
                <a:gd name="T18" fmla="*/ 2 w 220"/>
                <a:gd name="T19" fmla="*/ 2 h 106"/>
                <a:gd name="T20" fmla="*/ 1 w 220"/>
                <a:gd name="T21" fmla="*/ 4 h 106"/>
                <a:gd name="T22" fmla="*/ 1 w 220"/>
                <a:gd name="T23" fmla="*/ 0 h 106"/>
                <a:gd name="T24" fmla="*/ 0 w 220"/>
                <a:gd name="T25" fmla="*/ 0 h 10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106"/>
                <a:gd name="T41" fmla="*/ 220 w 220"/>
                <a:gd name="T42" fmla="*/ 106 h 10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106">
                  <a:moveTo>
                    <a:pt x="0" y="0"/>
                  </a:moveTo>
                  <a:lnTo>
                    <a:pt x="18" y="38"/>
                  </a:lnTo>
                  <a:lnTo>
                    <a:pt x="72" y="38"/>
                  </a:lnTo>
                  <a:lnTo>
                    <a:pt x="55" y="46"/>
                  </a:lnTo>
                  <a:lnTo>
                    <a:pt x="67" y="59"/>
                  </a:lnTo>
                  <a:lnTo>
                    <a:pt x="21" y="65"/>
                  </a:lnTo>
                  <a:lnTo>
                    <a:pt x="98" y="79"/>
                  </a:lnTo>
                  <a:lnTo>
                    <a:pt x="220" y="106"/>
                  </a:lnTo>
                  <a:lnTo>
                    <a:pt x="202" y="45"/>
                  </a:lnTo>
                  <a:lnTo>
                    <a:pt x="113" y="8"/>
                  </a:lnTo>
                  <a:lnTo>
                    <a:pt x="84" y="24"/>
                  </a:lnTo>
                  <a:lnTo>
                    <a:pt x="7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3" name="Freeform 32"/>
            <p:cNvSpPr>
              <a:spLocks noChangeAspect="1"/>
            </p:cNvSpPr>
            <p:nvPr/>
          </p:nvSpPr>
          <p:spPr bwMode="gray">
            <a:xfrm>
              <a:off x="1696285" y="1388190"/>
              <a:ext cx="124047" cy="87930"/>
            </a:xfrm>
            <a:custGeom>
              <a:avLst/>
              <a:gdLst>
                <a:gd name="T0" fmla="*/ 0 w 177"/>
                <a:gd name="T1" fmla="*/ 3 h 107"/>
                <a:gd name="T2" fmla="*/ 0 w 177"/>
                <a:gd name="T3" fmla="*/ 1 h 107"/>
                <a:gd name="T4" fmla="*/ 0 w 177"/>
                <a:gd name="T5" fmla="*/ 2 h 107"/>
                <a:gd name="T6" fmla="*/ 0 w 177"/>
                <a:gd name="T7" fmla="*/ 1 h 107"/>
                <a:gd name="T8" fmla="*/ 0 w 177"/>
                <a:gd name="T9" fmla="*/ 0 h 107"/>
                <a:gd name="T10" fmla="*/ 1 w 177"/>
                <a:gd name="T11" fmla="*/ 1 h 107"/>
                <a:gd name="T12" fmla="*/ 0 w 177"/>
                <a:gd name="T13" fmla="*/ 0 h 107"/>
                <a:gd name="T14" fmla="*/ 2 w 177"/>
                <a:gd name="T15" fmla="*/ 0 h 107"/>
                <a:gd name="T16" fmla="*/ 2 w 177"/>
                <a:gd name="T17" fmla="*/ 3 h 107"/>
                <a:gd name="T18" fmla="*/ 2 w 177"/>
                <a:gd name="T19" fmla="*/ 2 h 107"/>
                <a:gd name="T20" fmla="*/ 2 w 177"/>
                <a:gd name="T21" fmla="*/ 4 h 107"/>
                <a:gd name="T22" fmla="*/ 1 w 177"/>
                <a:gd name="T23" fmla="*/ 4 h 107"/>
                <a:gd name="T24" fmla="*/ 1 w 177"/>
                <a:gd name="T25" fmla="*/ 4 h 107"/>
                <a:gd name="T26" fmla="*/ 1 w 177"/>
                <a:gd name="T27" fmla="*/ 3 h 107"/>
                <a:gd name="T28" fmla="*/ 1 w 177"/>
                <a:gd name="T29" fmla="*/ 2 h 107"/>
                <a:gd name="T30" fmla="*/ 0 w 177"/>
                <a:gd name="T31" fmla="*/ 3 h 10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7"/>
                <a:gd name="T49" fmla="*/ 0 h 107"/>
                <a:gd name="T50" fmla="*/ 177 w 177"/>
                <a:gd name="T51" fmla="*/ 107 h 10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7" h="107">
                  <a:moveTo>
                    <a:pt x="0" y="69"/>
                  </a:moveTo>
                  <a:lnTo>
                    <a:pt x="20" y="44"/>
                  </a:lnTo>
                  <a:lnTo>
                    <a:pt x="54" y="49"/>
                  </a:lnTo>
                  <a:lnTo>
                    <a:pt x="11" y="23"/>
                  </a:lnTo>
                  <a:lnTo>
                    <a:pt x="21" y="7"/>
                  </a:lnTo>
                  <a:lnTo>
                    <a:pt x="92" y="41"/>
                  </a:lnTo>
                  <a:lnTo>
                    <a:pt x="52" y="5"/>
                  </a:lnTo>
                  <a:lnTo>
                    <a:pt x="158" y="0"/>
                  </a:lnTo>
                  <a:lnTo>
                    <a:pt x="177" y="79"/>
                  </a:lnTo>
                  <a:lnTo>
                    <a:pt x="156" y="66"/>
                  </a:lnTo>
                  <a:lnTo>
                    <a:pt x="153" y="107"/>
                  </a:lnTo>
                  <a:lnTo>
                    <a:pt x="68" y="102"/>
                  </a:lnTo>
                  <a:lnTo>
                    <a:pt x="85" y="91"/>
                  </a:lnTo>
                  <a:lnTo>
                    <a:pt x="63" y="76"/>
                  </a:lnTo>
                  <a:lnTo>
                    <a:pt x="124" y="55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4" name="Freeform 33"/>
            <p:cNvSpPr>
              <a:spLocks noChangeAspect="1"/>
            </p:cNvSpPr>
            <p:nvPr/>
          </p:nvSpPr>
          <p:spPr bwMode="gray">
            <a:xfrm>
              <a:off x="1699348" y="1545801"/>
              <a:ext cx="145487" cy="144339"/>
            </a:xfrm>
            <a:custGeom>
              <a:avLst/>
              <a:gdLst>
                <a:gd name="T0" fmla="*/ 0 w 206"/>
                <a:gd name="T1" fmla="*/ 6 h 169"/>
                <a:gd name="T2" fmla="*/ 0 w 206"/>
                <a:gd name="T3" fmla="*/ 5 h 169"/>
                <a:gd name="T4" fmla="*/ 1 w 206"/>
                <a:gd name="T5" fmla="*/ 6 h 169"/>
                <a:gd name="T6" fmla="*/ 1 w 206"/>
                <a:gd name="T7" fmla="*/ 4 h 169"/>
                <a:gd name="T8" fmla="*/ 1 w 206"/>
                <a:gd name="T9" fmla="*/ 4 h 169"/>
                <a:gd name="T10" fmla="*/ 0 w 206"/>
                <a:gd name="T11" fmla="*/ 3 h 169"/>
                <a:gd name="T12" fmla="*/ 1 w 206"/>
                <a:gd name="T13" fmla="*/ 2 h 169"/>
                <a:gd name="T14" fmla="*/ 0 w 206"/>
                <a:gd name="T15" fmla="*/ 1 h 169"/>
                <a:gd name="T16" fmla="*/ 3 w 206"/>
                <a:gd name="T17" fmla="*/ 0 h 169"/>
                <a:gd name="T18" fmla="*/ 3 w 206"/>
                <a:gd name="T19" fmla="*/ 3 h 169"/>
                <a:gd name="T20" fmla="*/ 2 w 206"/>
                <a:gd name="T21" fmla="*/ 5 h 169"/>
                <a:gd name="T22" fmla="*/ 3 w 206"/>
                <a:gd name="T23" fmla="*/ 6 h 169"/>
                <a:gd name="T24" fmla="*/ 3 w 206"/>
                <a:gd name="T25" fmla="*/ 10 h 169"/>
                <a:gd name="T26" fmla="*/ 2 w 206"/>
                <a:gd name="T27" fmla="*/ 13 h 169"/>
                <a:gd name="T28" fmla="*/ 1 w 206"/>
                <a:gd name="T29" fmla="*/ 9 h 169"/>
                <a:gd name="T30" fmla="*/ 0 w 206"/>
                <a:gd name="T31" fmla="*/ 6 h 1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6"/>
                <a:gd name="T49" fmla="*/ 0 h 169"/>
                <a:gd name="T50" fmla="*/ 206 w 206"/>
                <a:gd name="T51" fmla="*/ 169 h 1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6" h="169">
                  <a:moveTo>
                    <a:pt x="0" y="85"/>
                  </a:moveTo>
                  <a:lnTo>
                    <a:pt x="10" y="63"/>
                  </a:lnTo>
                  <a:lnTo>
                    <a:pt x="79" y="76"/>
                  </a:lnTo>
                  <a:lnTo>
                    <a:pt x="69" y="49"/>
                  </a:lnTo>
                  <a:lnTo>
                    <a:pt x="87" y="51"/>
                  </a:lnTo>
                  <a:lnTo>
                    <a:pt x="42" y="36"/>
                  </a:lnTo>
                  <a:lnTo>
                    <a:pt x="63" y="28"/>
                  </a:lnTo>
                  <a:lnTo>
                    <a:pt x="43" y="15"/>
                  </a:lnTo>
                  <a:lnTo>
                    <a:pt x="174" y="0"/>
                  </a:lnTo>
                  <a:lnTo>
                    <a:pt x="179" y="37"/>
                  </a:lnTo>
                  <a:lnTo>
                    <a:pt x="139" y="68"/>
                  </a:lnTo>
                  <a:lnTo>
                    <a:pt x="199" y="76"/>
                  </a:lnTo>
                  <a:lnTo>
                    <a:pt x="206" y="136"/>
                  </a:lnTo>
                  <a:lnTo>
                    <a:pt x="118" y="169"/>
                  </a:lnTo>
                  <a:lnTo>
                    <a:pt x="79" y="121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5" name="Freeform 34"/>
            <p:cNvSpPr>
              <a:spLocks noChangeAspect="1"/>
            </p:cNvSpPr>
            <p:nvPr/>
          </p:nvSpPr>
          <p:spPr bwMode="gray">
            <a:xfrm>
              <a:off x="1801955" y="1237215"/>
              <a:ext cx="90355" cy="72999"/>
            </a:xfrm>
            <a:custGeom>
              <a:avLst/>
              <a:gdLst>
                <a:gd name="T0" fmla="*/ 0 w 124"/>
                <a:gd name="T1" fmla="*/ 0 h 86"/>
                <a:gd name="T2" fmla="*/ 0 w 124"/>
                <a:gd name="T3" fmla="*/ 4 h 86"/>
                <a:gd name="T4" fmla="*/ 1 w 124"/>
                <a:gd name="T5" fmla="*/ 4 h 86"/>
                <a:gd name="T6" fmla="*/ 0 w 124"/>
                <a:gd name="T7" fmla="*/ 4 h 86"/>
                <a:gd name="T8" fmla="*/ 1 w 124"/>
                <a:gd name="T9" fmla="*/ 6 h 86"/>
                <a:gd name="T10" fmla="*/ 2 w 124"/>
                <a:gd name="T11" fmla="*/ 5 h 86"/>
                <a:gd name="T12" fmla="*/ 3 w 124"/>
                <a:gd name="T13" fmla="*/ 3 h 86"/>
                <a:gd name="T14" fmla="*/ 0 w 124"/>
                <a:gd name="T15" fmla="*/ 0 h 8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4"/>
                <a:gd name="T25" fmla="*/ 0 h 86"/>
                <a:gd name="T26" fmla="*/ 124 w 124"/>
                <a:gd name="T27" fmla="*/ 86 h 8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4" h="86">
                  <a:moveTo>
                    <a:pt x="0" y="0"/>
                  </a:moveTo>
                  <a:lnTo>
                    <a:pt x="14" y="51"/>
                  </a:lnTo>
                  <a:lnTo>
                    <a:pt x="52" y="54"/>
                  </a:lnTo>
                  <a:lnTo>
                    <a:pt x="19" y="61"/>
                  </a:lnTo>
                  <a:lnTo>
                    <a:pt x="35" y="86"/>
                  </a:lnTo>
                  <a:lnTo>
                    <a:pt x="112" y="71"/>
                  </a:lnTo>
                  <a:lnTo>
                    <a:pt x="124" y="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6" name="Freeform 35"/>
            <p:cNvSpPr>
              <a:spLocks noChangeAspect="1"/>
            </p:cNvSpPr>
            <p:nvPr/>
          </p:nvSpPr>
          <p:spPr bwMode="gray">
            <a:xfrm>
              <a:off x="1834115" y="1348372"/>
              <a:ext cx="431867" cy="162588"/>
            </a:xfrm>
            <a:custGeom>
              <a:avLst/>
              <a:gdLst>
                <a:gd name="T0" fmla="*/ 0 w 598"/>
                <a:gd name="T1" fmla="*/ 3 h 188"/>
                <a:gd name="T2" fmla="*/ 0 w 598"/>
                <a:gd name="T3" fmla="*/ 0 h 188"/>
                <a:gd name="T4" fmla="*/ 2 w 598"/>
                <a:gd name="T5" fmla="*/ 2 h 188"/>
                <a:gd name="T6" fmla="*/ 2 w 598"/>
                <a:gd name="T7" fmla="*/ 3 h 188"/>
                <a:gd name="T8" fmla="*/ 2 w 598"/>
                <a:gd name="T9" fmla="*/ 5 h 188"/>
                <a:gd name="T10" fmla="*/ 4 w 598"/>
                <a:gd name="T11" fmla="*/ 3 h 188"/>
                <a:gd name="T12" fmla="*/ 4 w 598"/>
                <a:gd name="T13" fmla="*/ 5 h 188"/>
                <a:gd name="T14" fmla="*/ 4 w 598"/>
                <a:gd name="T15" fmla="*/ 5 h 188"/>
                <a:gd name="T16" fmla="*/ 5 w 598"/>
                <a:gd name="T17" fmla="*/ 6 h 188"/>
                <a:gd name="T18" fmla="*/ 4 w 598"/>
                <a:gd name="T19" fmla="*/ 7 h 188"/>
                <a:gd name="T20" fmla="*/ 4 w 598"/>
                <a:gd name="T21" fmla="*/ 8 h 188"/>
                <a:gd name="T22" fmla="*/ 4 w 598"/>
                <a:gd name="T23" fmla="*/ 9 h 188"/>
                <a:gd name="T24" fmla="*/ 5 w 598"/>
                <a:gd name="T25" fmla="*/ 8 h 188"/>
                <a:gd name="T26" fmla="*/ 6 w 598"/>
                <a:gd name="T27" fmla="*/ 11 h 188"/>
                <a:gd name="T28" fmla="*/ 6 w 598"/>
                <a:gd name="T29" fmla="*/ 10 h 188"/>
                <a:gd name="T30" fmla="*/ 8 w 598"/>
                <a:gd name="T31" fmla="*/ 11 h 188"/>
                <a:gd name="T32" fmla="*/ 10 w 598"/>
                <a:gd name="T33" fmla="*/ 8 h 188"/>
                <a:gd name="T34" fmla="*/ 12 w 598"/>
                <a:gd name="T35" fmla="*/ 12 h 188"/>
                <a:gd name="T36" fmla="*/ 11 w 598"/>
                <a:gd name="T37" fmla="*/ 14 h 188"/>
                <a:gd name="T38" fmla="*/ 12 w 598"/>
                <a:gd name="T39" fmla="*/ 16 h 188"/>
                <a:gd name="T40" fmla="*/ 10 w 598"/>
                <a:gd name="T41" fmla="*/ 17 h 188"/>
                <a:gd name="T42" fmla="*/ 9 w 598"/>
                <a:gd name="T43" fmla="*/ 15 h 188"/>
                <a:gd name="T44" fmla="*/ 9 w 598"/>
                <a:gd name="T45" fmla="*/ 16 h 188"/>
                <a:gd name="T46" fmla="*/ 8 w 598"/>
                <a:gd name="T47" fmla="*/ 17 h 188"/>
                <a:gd name="T48" fmla="*/ 6 w 598"/>
                <a:gd name="T49" fmla="*/ 17 h 188"/>
                <a:gd name="T50" fmla="*/ 6 w 598"/>
                <a:gd name="T51" fmla="*/ 15 h 188"/>
                <a:gd name="T52" fmla="*/ 5 w 598"/>
                <a:gd name="T53" fmla="*/ 17 h 188"/>
                <a:gd name="T54" fmla="*/ 4 w 598"/>
                <a:gd name="T55" fmla="*/ 15 h 188"/>
                <a:gd name="T56" fmla="*/ 4 w 598"/>
                <a:gd name="T57" fmla="*/ 16 h 188"/>
                <a:gd name="T58" fmla="*/ 3 w 598"/>
                <a:gd name="T59" fmla="*/ 5 h 188"/>
                <a:gd name="T60" fmla="*/ 1 w 598"/>
                <a:gd name="T61" fmla="*/ 6 h 188"/>
                <a:gd name="T62" fmla="*/ 0 w 598"/>
                <a:gd name="T63" fmla="*/ 3 h 1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98"/>
                <a:gd name="T97" fmla="*/ 0 h 188"/>
                <a:gd name="T98" fmla="*/ 598 w 598"/>
                <a:gd name="T99" fmla="*/ 188 h 18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98" h="188">
                  <a:moveTo>
                    <a:pt x="0" y="30"/>
                  </a:moveTo>
                  <a:lnTo>
                    <a:pt x="36" y="0"/>
                  </a:lnTo>
                  <a:lnTo>
                    <a:pt x="90" y="16"/>
                  </a:lnTo>
                  <a:lnTo>
                    <a:pt x="126" y="30"/>
                  </a:lnTo>
                  <a:lnTo>
                    <a:pt x="115" y="51"/>
                  </a:lnTo>
                  <a:lnTo>
                    <a:pt x="183" y="33"/>
                  </a:lnTo>
                  <a:lnTo>
                    <a:pt x="227" y="51"/>
                  </a:lnTo>
                  <a:lnTo>
                    <a:pt x="189" y="51"/>
                  </a:lnTo>
                  <a:lnTo>
                    <a:pt x="265" y="66"/>
                  </a:lnTo>
                  <a:lnTo>
                    <a:pt x="183" y="72"/>
                  </a:lnTo>
                  <a:lnTo>
                    <a:pt x="227" y="84"/>
                  </a:lnTo>
                  <a:lnTo>
                    <a:pt x="194" y="100"/>
                  </a:lnTo>
                  <a:lnTo>
                    <a:pt x="236" y="87"/>
                  </a:lnTo>
                  <a:lnTo>
                    <a:pt x="272" y="125"/>
                  </a:lnTo>
                  <a:lnTo>
                    <a:pt x="281" y="108"/>
                  </a:lnTo>
                  <a:lnTo>
                    <a:pt x="391" y="125"/>
                  </a:lnTo>
                  <a:lnTo>
                    <a:pt x="505" y="89"/>
                  </a:lnTo>
                  <a:lnTo>
                    <a:pt x="598" y="131"/>
                  </a:lnTo>
                  <a:lnTo>
                    <a:pt x="568" y="150"/>
                  </a:lnTo>
                  <a:lnTo>
                    <a:pt x="578" y="182"/>
                  </a:lnTo>
                  <a:lnTo>
                    <a:pt x="524" y="188"/>
                  </a:lnTo>
                  <a:lnTo>
                    <a:pt x="463" y="159"/>
                  </a:lnTo>
                  <a:lnTo>
                    <a:pt x="463" y="182"/>
                  </a:lnTo>
                  <a:lnTo>
                    <a:pt x="430" y="186"/>
                  </a:lnTo>
                  <a:lnTo>
                    <a:pt x="296" y="188"/>
                  </a:lnTo>
                  <a:lnTo>
                    <a:pt x="281" y="163"/>
                  </a:lnTo>
                  <a:lnTo>
                    <a:pt x="248" y="186"/>
                  </a:lnTo>
                  <a:lnTo>
                    <a:pt x="208" y="163"/>
                  </a:lnTo>
                  <a:lnTo>
                    <a:pt x="180" y="178"/>
                  </a:lnTo>
                  <a:lnTo>
                    <a:pt x="128" y="56"/>
                  </a:lnTo>
                  <a:lnTo>
                    <a:pt x="67" y="67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7" name="Freeform 36"/>
            <p:cNvSpPr>
              <a:spLocks noChangeAspect="1"/>
            </p:cNvSpPr>
            <p:nvPr/>
          </p:nvSpPr>
          <p:spPr bwMode="gray">
            <a:xfrm>
              <a:off x="1850961" y="1069649"/>
              <a:ext cx="283317" cy="217337"/>
            </a:xfrm>
            <a:custGeom>
              <a:avLst/>
              <a:gdLst>
                <a:gd name="T0" fmla="*/ 0 w 390"/>
                <a:gd name="T1" fmla="*/ 7 h 252"/>
                <a:gd name="T2" fmla="*/ 2 w 390"/>
                <a:gd name="T3" fmla="*/ 6 h 252"/>
                <a:gd name="T4" fmla="*/ 1 w 390"/>
                <a:gd name="T5" fmla="*/ 3 h 252"/>
                <a:gd name="T6" fmla="*/ 3 w 390"/>
                <a:gd name="T7" fmla="*/ 2 h 252"/>
                <a:gd name="T8" fmla="*/ 1 w 390"/>
                <a:gd name="T9" fmla="*/ 0 h 252"/>
                <a:gd name="T10" fmla="*/ 4 w 390"/>
                <a:gd name="T11" fmla="*/ 2 h 252"/>
                <a:gd name="T12" fmla="*/ 4 w 390"/>
                <a:gd name="T13" fmla="*/ 6 h 252"/>
                <a:gd name="T14" fmla="*/ 6 w 390"/>
                <a:gd name="T15" fmla="*/ 6 h 252"/>
                <a:gd name="T16" fmla="*/ 6 w 390"/>
                <a:gd name="T17" fmla="*/ 9 h 252"/>
                <a:gd name="T18" fmla="*/ 6 w 390"/>
                <a:gd name="T19" fmla="*/ 6 h 252"/>
                <a:gd name="T20" fmla="*/ 7 w 390"/>
                <a:gd name="T21" fmla="*/ 7 h 252"/>
                <a:gd name="T22" fmla="*/ 6 w 390"/>
                <a:gd name="T23" fmla="*/ 9 h 252"/>
                <a:gd name="T24" fmla="*/ 7 w 390"/>
                <a:gd name="T25" fmla="*/ 10 h 252"/>
                <a:gd name="T26" fmla="*/ 7 w 390"/>
                <a:gd name="T27" fmla="*/ 12 h 252"/>
                <a:gd name="T28" fmla="*/ 8 w 390"/>
                <a:gd name="T29" fmla="*/ 12 h 252"/>
                <a:gd name="T30" fmla="*/ 9 w 390"/>
                <a:gd name="T31" fmla="*/ 15 h 252"/>
                <a:gd name="T32" fmla="*/ 7 w 390"/>
                <a:gd name="T33" fmla="*/ 16 h 252"/>
                <a:gd name="T34" fmla="*/ 7 w 390"/>
                <a:gd name="T35" fmla="*/ 18 h 252"/>
                <a:gd name="T36" fmla="*/ 6 w 390"/>
                <a:gd name="T37" fmla="*/ 16 h 252"/>
                <a:gd name="T38" fmla="*/ 6 w 390"/>
                <a:gd name="T39" fmla="*/ 22 h 252"/>
                <a:gd name="T40" fmla="*/ 5 w 390"/>
                <a:gd name="T41" fmla="*/ 19 h 252"/>
                <a:gd name="T42" fmla="*/ 5 w 390"/>
                <a:gd name="T43" fmla="*/ 22 h 252"/>
                <a:gd name="T44" fmla="*/ 3 w 390"/>
                <a:gd name="T45" fmla="*/ 21 h 252"/>
                <a:gd name="T46" fmla="*/ 3 w 390"/>
                <a:gd name="T47" fmla="*/ 20 h 252"/>
                <a:gd name="T48" fmla="*/ 4 w 390"/>
                <a:gd name="T49" fmla="*/ 19 h 252"/>
                <a:gd name="T50" fmla="*/ 2 w 390"/>
                <a:gd name="T51" fmla="*/ 19 h 252"/>
                <a:gd name="T52" fmla="*/ 2 w 390"/>
                <a:gd name="T53" fmla="*/ 18 h 252"/>
                <a:gd name="T54" fmla="*/ 3 w 390"/>
                <a:gd name="T55" fmla="*/ 18 h 252"/>
                <a:gd name="T56" fmla="*/ 2 w 390"/>
                <a:gd name="T57" fmla="*/ 16 h 252"/>
                <a:gd name="T58" fmla="*/ 5 w 390"/>
                <a:gd name="T59" fmla="*/ 15 h 252"/>
                <a:gd name="T60" fmla="*/ 1 w 390"/>
                <a:gd name="T61" fmla="*/ 15 h 252"/>
                <a:gd name="T62" fmla="*/ 0 w 390"/>
                <a:gd name="T63" fmla="*/ 12 h 252"/>
                <a:gd name="T64" fmla="*/ 2 w 390"/>
                <a:gd name="T65" fmla="*/ 11 h 252"/>
                <a:gd name="T66" fmla="*/ 0 w 390"/>
                <a:gd name="T67" fmla="*/ 10 h 252"/>
                <a:gd name="T68" fmla="*/ 0 w 390"/>
                <a:gd name="T69" fmla="*/ 10 h 252"/>
                <a:gd name="T70" fmla="*/ 0 w 390"/>
                <a:gd name="T71" fmla="*/ 8 h 252"/>
                <a:gd name="T72" fmla="*/ 2 w 390"/>
                <a:gd name="T73" fmla="*/ 8 h 252"/>
                <a:gd name="T74" fmla="*/ 0 w 390"/>
                <a:gd name="T75" fmla="*/ 7 h 2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0"/>
                <a:gd name="T115" fmla="*/ 0 h 252"/>
                <a:gd name="T116" fmla="*/ 390 w 390"/>
                <a:gd name="T117" fmla="*/ 252 h 25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0" h="252">
                  <a:moveTo>
                    <a:pt x="0" y="78"/>
                  </a:moveTo>
                  <a:lnTo>
                    <a:pt x="94" y="65"/>
                  </a:lnTo>
                  <a:lnTo>
                    <a:pt x="44" y="31"/>
                  </a:lnTo>
                  <a:lnTo>
                    <a:pt x="127" y="15"/>
                  </a:lnTo>
                  <a:lnTo>
                    <a:pt x="61" y="0"/>
                  </a:lnTo>
                  <a:lnTo>
                    <a:pt x="165" y="18"/>
                  </a:lnTo>
                  <a:lnTo>
                    <a:pt x="196" y="66"/>
                  </a:lnTo>
                  <a:lnTo>
                    <a:pt x="250" y="67"/>
                  </a:lnTo>
                  <a:lnTo>
                    <a:pt x="270" y="100"/>
                  </a:lnTo>
                  <a:lnTo>
                    <a:pt x="274" y="77"/>
                  </a:lnTo>
                  <a:lnTo>
                    <a:pt x="302" y="78"/>
                  </a:lnTo>
                  <a:lnTo>
                    <a:pt x="290" y="100"/>
                  </a:lnTo>
                  <a:lnTo>
                    <a:pt x="321" y="116"/>
                  </a:lnTo>
                  <a:lnTo>
                    <a:pt x="302" y="138"/>
                  </a:lnTo>
                  <a:lnTo>
                    <a:pt x="363" y="136"/>
                  </a:lnTo>
                  <a:lnTo>
                    <a:pt x="390" y="169"/>
                  </a:lnTo>
                  <a:lnTo>
                    <a:pt x="316" y="180"/>
                  </a:lnTo>
                  <a:lnTo>
                    <a:pt x="296" y="210"/>
                  </a:lnTo>
                  <a:lnTo>
                    <a:pt x="281" y="179"/>
                  </a:lnTo>
                  <a:lnTo>
                    <a:pt x="262" y="251"/>
                  </a:lnTo>
                  <a:lnTo>
                    <a:pt x="214" y="213"/>
                  </a:lnTo>
                  <a:lnTo>
                    <a:pt x="239" y="252"/>
                  </a:lnTo>
                  <a:lnTo>
                    <a:pt x="147" y="246"/>
                  </a:lnTo>
                  <a:lnTo>
                    <a:pt x="119" y="226"/>
                  </a:lnTo>
                  <a:lnTo>
                    <a:pt x="162" y="223"/>
                  </a:lnTo>
                  <a:lnTo>
                    <a:pt x="116" y="217"/>
                  </a:lnTo>
                  <a:lnTo>
                    <a:pt x="103" y="204"/>
                  </a:lnTo>
                  <a:lnTo>
                    <a:pt x="127" y="203"/>
                  </a:lnTo>
                  <a:lnTo>
                    <a:pt x="88" y="187"/>
                  </a:lnTo>
                  <a:lnTo>
                    <a:pt x="212" y="164"/>
                  </a:lnTo>
                  <a:lnTo>
                    <a:pt x="61" y="169"/>
                  </a:lnTo>
                  <a:lnTo>
                    <a:pt x="34" y="144"/>
                  </a:lnTo>
                  <a:lnTo>
                    <a:pt x="88" y="133"/>
                  </a:lnTo>
                  <a:lnTo>
                    <a:pt x="6" y="116"/>
                  </a:lnTo>
                  <a:lnTo>
                    <a:pt x="25" y="115"/>
                  </a:lnTo>
                  <a:lnTo>
                    <a:pt x="1" y="98"/>
                  </a:lnTo>
                  <a:lnTo>
                    <a:pt x="94" y="9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8" name="Freeform 37"/>
            <p:cNvSpPr>
              <a:spLocks noChangeAspect="1"/>
            </p:cNvSpPr>
            <p:nvPr/>
          </p:nvSpPr>
          <p:spPr bwMode="gray">
            <a:xfrm>
              <a:off x="1850961" y="1444598"/>
              <a:ext cx="68915" cy="56408"/>
            </a:xfrm>
            <a:custGeom>
              <a:avLst/>
              <a:gdLst>
                <a:gd name="T0" fmla="*/ 0 w 94"/>
                <a:gd name="T1" fmla="*/ 4 h 65"/>
                <a:gd name="T2" fmla="*/ 0 w 94"/>
                <a:gd name="T3" fmla="*/ 0 h 65"/>
                <a:gd name="T4" fmla="*/ 2 w 94"/>
                <a:gd name="T5" fmla="*/ 2 h 65"/>
                <a:gd name="T6" fmla="*/ 2 w 94"/>
                <a:gd name="T7" fmla="*/ 6 h 65"/>
                <a:gd name="T8" fmla="*/ 0 w 94"/>
                <a:gd name="T9" fmla="*/ 4 h 6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4"/>
                <a:gd name="T16" fmla="*/ 0 h 65"/>
                <a:gd name="T17" fmla="*/ 94 w 94"/>
                <a:gd name="T18" fmla="*/ 65 h 6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4" h="65">
                  <a:moveTo>
                    <a:pt x="0" y="44"/>
                  </a:moveTo>
                  <a:lnTo>
                    <a:pt x="16" y="0"/>
                  </a:lnTo>
                  <a:lnTo>
                    <a:pt x="77" y="13"/>
                  </a:lnTo>
                  <a:lnTo>
                    <a:pt x="94" y="65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39" name="Freeform 38"/>
            <p:cNvSpPr>
              <a:spLocks noChangeAspect="1"/>
            </p:cNvSpPr>
            <p:nvPr/>
          </p:nvSpPr>
          <p:spPr bwMode="gray">
            <a:xfrm>
              <a:off x="1852493" y="1310214"/>
              <a:ext cx="75041" cy="19909"/>
            </a:xfrm>
            <a:custGeom>
              <a:avLst/>
              <a:gdLst>
                <a:gd name="T0" fmla="*/ 0 w 107"/>
                <a:gd name="T1" fmla="*/ 2 h 22"/>
                <a:gd name="T2" fmla="*/ 0 w 107"/>
                <a:gd name="T3" fmla="*/ 4 h 22"/>
                <a:gd name="T4" fmla="*/ 1 w 107"/>
                <a:gd name="T5" fmla="*/ 2 h 22"/>
                <a:gd name="T6" fmla="*/ 0 w 107"/>
                <a:gd name="T7" fmla="*/ 0 h 22"/>
                <a:gd name="T8" fmla="*/ 0 w 107"/>
                <a:gd name="T9" fmla="*/ 2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7"/>
                <a:gd name="T16" fmla="*/ 0 h 22"/>
                <a:gd name="T17" fmla="*/ 107 w 107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7" h="22">
                  <a:moveTo>
                    <a:pt x="0" y="8"/>
                  </a:moveTo>
                  <a:lnTo>
                    <a:pt x="25" y="22"/>
                  </a:lnTo>
                  <a:lnTo>
                    <a:pt x="107" y="8"/>
                  </a:lnTo>
                  <a:lnTo>
                    <a:pt x="29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FC00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0" name="Freeform 39"/>
            <p:cNvSpPr>
              <a:spLocks noChangeAspect="1"/>
            </p:cNvSpPr>
            <p:nvPr/>
          </p:nvSpPr>
          <p:spPr bwMode="gray">
            <a:xfrm>
              <a:off x="1864744" y="1535846"/>
              <a:ext cx="133236" cy="116135"/>
            </a:xfrm>
            <a:custGeom>
              <a:avLst/>
              <a:gdLst>
                <a:gd name="T0" fmla="*/ 0 w 186"/>
                <a:gd name="T1" fmla="*/ 2 h 133"/>
                <a:gd name="T2" fmla="*/ 0 w 186"/>
                <a:gd name="T3" fmla="*/ 9 h 133"/>
                <a:gd name="T4" fmla="*/ 0 w 186"/>
                <a:gd name="T5" fmla="*/ 10 h 133"/>
                <a:gd name="T6" fmla="*/ 0 w 186"/>
                <a:gd name="T7" fmla="*/ 14 h 133"/>
                <a:gd name="T8" fmla="*/ 1 w 186"/>
                <a:gd name="T9" fmla="*/ 14 h 133"/>
                <a:gd name="T10" fmla="*/ 1 w 186"/>
                <a:gd name="T11" fmla="*/ 11 h 133"/>
                <a:gd name="T12" fmla="*/ 1 w 186"/>
                <a:gd name="T13" fmla="*/ 9 h 133"/>
                <a:gd name="T14" fmla="*/ 2 w 186"/>
                <a:gd name="T15" fmla="*/ 9 h 133"/>
                <a:gd name="T16" fmla="*/ 3 w 186"/>
                <a:gd name="T17" fmla="*/ 1 h 133"/>
                <a:gd name="T18" fmla="*/ 0 w 186"/>
                <a:gd name="T19" fmla="*/ 0 h 133"/>
                <a:gd name="T20" fmla="*/ 0 w 186"/>
                <a:gd name="T21" fmla="*/ 3 h 133"/>
                <a:gd name="T22" fmla="*/ 0 w 186"/>
                <a:gd name="T23" fmla="*/ 2 h 1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6"/>
                <a:gd name="T37" fmla="*/ 0 h 133"/>
                <a:gd name="T38" fmla="*/ 186 w 186"/>
                <a:gd name="T39" fmla="*/ 133 h 13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6" h="133">
                  <a:moveTo>
                    <a:pt x="0" y="21"/>
                  </a:moveTo>
                  <a:lnTo>
                    <a:pt x="5" y="84"/>
                  </a:lnTo>
                  <a:lnTo>
                    <a:pt x="24" y="95"/>
                  </a:lnTo>
                  <a:lnTo>
                    <a:pt x="17" y="131"/>
                  </a:lnTo>
                  <a:lnTo>
                    <a:pt x="46" y="133"/>
                  </a:lnTo>
                  <a:lnTo>
                    <a:pt x="76" y="104"/>
                  </a:lnTo>
                  <a:lnTo>
                    <a:pt x="46" y="84"/>
                  </a:lnTo>
                  <a:lnTo>
                    <a:pt x="122" y="84"/>
                  </a:lnTo>
                  <a:lnTo>
                    <a:pt x="186" y="8"/>
                  </a:lnTo>
                  <a:lnTo>
                    <a:pt x="14" y="0"/>
                  </a:lnTo>
                  <a:lnTo>
                    <a:pt x="38" y="24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1" name="Freeform 40"/>
            <p:cNvSpPr>
              <a:spLocks noChangeAspect="1"/>
            </p:cNvSpPr>
            <p:nvPr/>
          </p:nvSpPr>
          <p:spPr bwMode="gray">
            <a:xfrm>
              <a:off x="1956631" y="940242"/>
              <a:ext cx="771848" cy="469515"/>
            </a:xfrm>
            <a:custGeom>
              <a:avLst/>
              <a:gdLst>
                <a:gd name="T0" fmla="*/ 1 w 1066"/>
                <a:gd name="T1" fmla="*/ 14 h 543"/>
                <a:gd name="T2" fmla="*/ 2 w 1066"/>
                <a:gd name="T3" fmla="*/ 14 h 543"/>
                <a:gd name="T4" fmla="*/ 6 w 1066"/>
                <a:gd name="T5" fmla="*/ 14 h 543"/>
                <a:gd name="T6" fmla="*/ 5 w 1066"/>
                <a:gd name="T7" fmla="*/ 16 h 543"/>
                <a:gd name="T8" fmla="*/ 4 w 1066"/>
                <a:gd name="T9" fmla="*/ 19 h 543"/>
                <a:gd name="T10" fmla="*/ 6 w 1066"/>
                <a:gd name="T11" fmla="*/ 19 h 543"/>
                <a:gd name="T12" fmla="*/ 9 w 1066"/>
                <a:gd name="T13" fmla="*/ 15 h 543"/>
                <a:gd name="T14" fmla="*/ 12 w 1066"/>
                <a:gd name="T15" fmla="*/ 16 h 543"/>
                <a:gd name="T16" fmla="*/ 9 w 1066"/>
                <a:gd name="T17" fmla="*/ 25 h 543"/>
                <a:gd name="T18" fmla="*/ 4 w 1066"/>
                <a:gd name="T19" fmla="*/ 21 h 543"/>
                <a:gd name="T20" fmla="*/ 4 w 1066"/>
                <a:gd name="T21" fmla="*/ 24 h 543"/>
                <a:gd name="T22" fmla="*/ 8 w 1066"/>
                <a:gd name="T23" fmla="*/ 30 h 543"/>
                <a:gd name="T24" fmla="*/ 5 w 1066"/>
                <a:gd name="T25" fmla="*/ 31 h 543"/>
                <a:gd name="T26" fmla="*/ 4 w 1066"/>
                <a:gd name="T27" fmla="*/ 35 h 543"/>
                <a:gd name="T28" fmla="*/ 5 w 1066"/>
                <a:gd name="T29" fmla="*/ 33 h 543"/>
                <a:gd name="T30" fmla="*/ 4 w 1066"/>
                <a:gd name="T31" fmla="*/ 37 h 543"/>
                <a:gd name="T32" fmla="*/ 5 w 1066"/>
                <a:gd name="T33" fmla="*/ 40 h 543"/>
                <a:gd name="T34" fmla="*/ 6 w 1066"/>
                <a:gd name="T35" fmla="*/ 42 h 543"/>
                <a:gd name="T36" fmla="*/ 4 w 1066"/>
                <a:gd name="T37" fmla="*/ 42 h 543"/>
                <a:gd name="T38" fmla="*/ 2 w 1066"/>
                <a:gd name="T39" fmla="*/ 45 h 543"/>
                <a:gd name="T40" fmla="*/ 5 w 1066"/>
                <a:gd name="T41" fmla="*/ 48 h 543"/>
                <a:gd name="T42" fmla="*/ 6 w 1066"/>
                <a:gd name="T43" fmla="*/ 47 h 543"/>
                <a:gd name="T44" fmla="*/ 7 w 1066"/>
                <a:gd name="T45" fmla="*/ 47 h 543"/>
                <a:gd name="T46" fmla="*/ 8 w 1066"/>
                <a:gd name="T47" fmla="*/ 49 h 543"/>
                <a:gd name="T48" fmla="*/ 9 w 1066"/>
                <a:gd name="T49" fmla="*/ 45 h 543"/>
                <a:gd name="T50" fmla="*/ 10 w 1066"/>
                <a:gd name="T51" fmla="*/ 42 h 543"/>
                <a:gd name="T52" fmla="*/ 12 w 1066"/>
                <a:gd name="T53" fmla="*/ 37 h 543"/>
                <a:gd name="T54" fmla="*/ 12 w 1066"/>
                <a:gd name="T55" fmla="*/ 35 h 543"/>
                <a:gd name="T56" fmla="*/ 12 w 1066"/>
                <a:gd name="T57" fmla="*/ 31 h 543"/>
                <a:gd name="T58" fmla="*/ 10 w 1066"/>
                <a:gd name="T59" fmla="*/ 29 h 543"/>
                <a:gd name="T60" fmla="*/ 10 w 1066"/>
                <a:gd name="T61" fmla="*/ 28 h 543"/>
                <a:gd name="T62" fmla="*/ 15 w 1066"/>
                <a:gd name="T63" fmla="*/ 25 h 543"/>
                <a:gd name="T64" fmla="*/ 16 w 1066"/>
                <a:gd name="T65" fmla="*/ 22 h 543"/>
                <a:gd name="T66" fmla="*/ 20 w 1066"/>
                <a:gd name="T67" fmla="*/ 13 h 543"/>
                <a:gd name="T68" fmla="*/ 17 w 1066"/>
                <a:gd name="T69" fmla="*/ 13 h 543"/>
                <a:gd name="T70" fmla="*/ 22 w 1066"/>
                <a:gd name="T71" fmla="*/ 7 h 543"/>
                <a:gd name="T72" fmla="*/ 20 w 1066"/>
                <a:gd name="T73" fmla="*/ 2 h 543"/>
                <a:gd name="T74" fmla="*/ 13 w 1066"/>
                <a:gd name="T75" fmla="*/ 0 h 543"/>
                <a:gd name="T76" fmla="*/ 12 w 1066"/>
                <a:gd name="T77" fmla="*/ 1 h 543"/>
                <a:gd name="T78" fmla="*/ 11 w 1066"/>
                <a:gd name="T79" fmla="*/ 5 h 543"/>
                <a:gd name="T80" fmla="*/ 9 w 1066"/>
                <a:gd name="T81" fmla="*/ 3 h 543"/>
                <a:gd name="T82" fmla="*/ 7 w 1066"/>
                <a:gd name="T83" fmla="*/ 4 h 543"/>
                <a:gd name="T84" fmla="*/ 8 w 1066"/>
                <a:gd name="T85" fmla="*/ 8 h 543"/>
                <a:gd name="T86" fmla="*/ 5 w 1066"/>
                <a:gd name="T87" fmla="*/ 9 h 54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66"/>
                <a:gd name="T133" fmla="*/ 0 h 543"/>
                <a:gd name="T134" fmla="*/ 1066 w 1066"/>
                <a:gd name="T135" fmla="*/ 543 h 54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66" h="543">
                  <a:moveTo>
                    <a:pt x="0" y="128"/>
                  </a:moveTo>
                  <a:lnTo>
                    <a:pt x="93" y="128"/>
                  </a:lnTo>
                  <a:lnTo>
                    <a:pt x="60" y="148"/>
                  </a:lnTo>
                  <a:lnTo>
                    <a:pt x="192" y="133"/>
                  </a:lnTo>
                  <a:lnTo>
                    <a:pt x="77" y="148"/>
                  </a:lnTo>
                  <a:lnTo>
                    <a:pt x="114" y="157"/>
                  </a:lnTo>
                  <a:lnTo>
                    <a:pt x="75" y="159"/>
                  </a:lnTo>
                  <a:lnTo>
                    <a:pt x="90" y="174"/>
                  </a:lnTo>
                  <a:lnTo>
                    <a:pt x="260" y="153"/>
                  </a:lnTo>
                  <a:lnTo>
                    <a:pt x="93" y="185"/>
                  </a:lnTo>
                  <a:lnTo>
                    <a:pt x="166" y="212"/>
                  </a:lnTo>
                  <a:lnTo>
                    <a:pt x="232" y="173"/>
                  </a:lnTo>
                  <a:lnTo>
                    <a:pt x="344" y="166"/>
                  </a:lnTo>
                  <a:lnTo>
                    <a:pt x="226" y="181"/>
                  </a:lnTo>
                  <a:lnTo>
                    <a:pt x="198" y="212"/>
                  </a:lnTo>
                  <a:lnTo>
                    <a:pt x="268" y="215"/>
                  </a:lnTo>
                  <a:lnTo>
                    <a:pt x="344" y="184"/>
                  </a:lnTo>
                  <a:lnTo>
                    <a:pt x="292" y="213"/>
                  </a:lnTo>
                  <a:lnTo>
                    <a:pt x="344" y="213"/>
                  </a:lnTo>
                  <a:lnTo>
                    <a:pt x="422" y="191"/>
                  </a:lnTo>
                  <a:lnTo>
                    <a:pt x="412" y="161"/>
                  </a:lnTo>
                  <a:lnTo>
                    <a:pt x="499" y="137"/>
                  </a:lnTo>
                  <a:lnTo>
                    <a:pt x="437" y="188"/>
                  </a:lnTo>
                  <a:lnTo>
                    <a:pt x="572" y="179"/>
                  </a:lnTo>
                  <a:lnTo>
                    <a:pt x="297" y="229"/>
                  </a:lnTo>
                  <a:lnTo>
                    <a:pt x="361" y="281"/>
                  </a:lnTo>
                  <a:lnTo>
                    <a:pt x="415" y="281"/>
                  </a:lnTo>
                  <a:lnTo>
                    <a:pt x="386" y="292"/>
                  </a:lnTo>
                  <a:lnTo>
                    <a:pt x="280" y="237"/>
                  </a:lnTo>
                  <a:lnTo>
                    <a:pt x="191" y="229"/>
                  </a:lnTo>
                  <a:lnTo>
                    <a:pt x="187" y="251"/>
                  </a:lnTo>
                  <a:lnTo>
                    <a:pt x="229" y="263"/>
                  </a:lnTo>
                  <a:lnTo>
                    <a:pt x="190" y="272"/>
                  </a:lnTo>
                  <a:lnTo>
                    <a:pt x="297" y="329"/>
                  </a:lnTo>
                  <a:lnTo>
                    <a:pt x="253" y="333"/>
                  </a:lnTo>
                  <a:lnTo>
                    <a:pt x="362" y="336"/>
                  </a:lnTo>
                  <a:lnTo>
                    <a:pt x="301" y="350"/>
                  </a:lnTo>
                  <a:lnTo>
                    <a:pt x="334" y="369"/>
                  </a:lnTo>
                  <a:lnTo>
                    <a:pt x="236" y="339"/>
                  </a:lnTo>
                  <a:lnTo>
                    <a:pt x="179" y="351"/>
                  </a:lnTo>
                  <a:lnTo>
                    <a:pt x="157" y="400"/>
                  </a:lnTo>
                  <a:lnTo>
                    <a:pt x="212" y="384"/>
                  </a:lnTo>
                  <a:lnTo>
                    <a:pt x="203" y="401"/>
                  </a:lnTo>
                  <a:lnTo>
                    <a:pt x="224" y="401"/>
                  </a:lnTo>
                  <a:lnTo>
                    <a:pt x="256" y="365"/>
                  </a:lnTo>
                  <a:lnTo>
                    <a:pt x="245" y="394"/>
                  </a:lnTo>
                  <a:lnTo>
                    <a:pt x="276" y="399"/>
                  </a:lnTo>
                  <a:lnTo>
                    <a:pt x="216" y="412"/>
                  </a:lnTo>
                  <a:lnTo>
                    <a:pt x="253" y="413"/>
                  </a:lnTo>
                  <a:lnTo>
                    <a:pt x="224" y="424"/>
                  </a:lnTo>
                  <a:lnTo>
                    <a:pt x="249" y="444"/>
                  </a:lnTo>
                  <a:lnTo>
                    <a:pt x="292" y="444"/>
                  </a:lnTo>
                  <a:lnTo>
                    <a:pt x="334" y="405"/>
                  </a:lnTo>
                  <a:lnTo>
                    <a:pt x="260" y="461"/>
                  </a:lnTo>
                  <a:lnTo>
                    <a:pt x="190" y="420"/>
                  </a:lnTo>
                  <a:lnTo>
                    <a:pt x="127" y="427"/>
                  </a:lnTo>
                  <a:lnTo>
                    <a:pt x="181" y="470"/>
                  </a:lnTo>
                  <a:lnTo>
                    <a:pt x="90" y="494"/>
                  </a:lnTo>
                  <a:lnTo>
                    <a:pt x="99" y="526"/>
                  </a:lnTo>
                  <a:lnTo>
                    <a:pt x="116" y="497"/>
                  </a:lnTo>
                  <a:lnTo>
                    <a:pt x="119" y="526"/>
                  </a:lnTo>
                  <a:lnTo>
                    <a:pt x="182" y="512"/>
                  </a:lnTo>
                  <a:lnTo>
                    <a:pt x="226" y="538"/>
                  </a:lnTo>
                  <a:lnTo>
                    <a:pt x="258" y="537"/>
                  </a:lnTo>
                  <a:lnTo>
                    <a:pt x="235" y="515"/>
                  </a:lnTo>
                  <a:lnTo>
                    <a:pt x="297" y="522"/>
                  </a:lnTo>
                  <a:lnTo>
                    <a:pt x="292" y="503"/>
                  </a:lnTo>
                  <a:lnTo>
                    <a:pt x="320" y="526"/>
                  </a:lnTo>
                  <a:lnTo>
                    <a:pt x="336" y="521"/>
                  </a:lnTo>
                  <a:lnTo>
                    <a:pt x="328" y="505"/>
                  </a:lnTo>
                  <a:lnTo>
                    <a:pt x="378" y="521"/>
                  </a:lnTo>
                  <a:lnTo>
                    <a:pt x="379" y="543"/>
                  </a:lnTo>
                  <a:lnTo>
                    <a:pt x="470" y="521"/>
                  </a:lnTo>
                  <a:lnTo>
                    <a:pt x="487" y="489"/>
                  </a:lnTo>
                  <a:lnTo>
                    <a:pt x="445" y="497"/>
                  </a:lnTo>
                  <a:lnTo>
                    <a:pt x="445" y="468"/>
                  </a:lnTo>
                  <a:lnTo>
                    <a:pt x="344" y="467"/>
                  </a:lnTo>
                  <a:lnTo>
                    <a:pt x="478" y="460"/>
                  </a:lnTo>
                  <a:lnTo>
                    <a:pt x="498" y="438"/>
                  </a:lnTo>
                  <a:lnTo>
                    <a:pt x="478" y="411"/>
                  </a:lnTo>
                  <a:lnTo>
                    <a:pt x="555" y="412"/>
                  </a:lnTo>
                  <a:lnTo>
                    <a:pt x="571" y="401"/>
                  </a:lnTo>
                  <a:lnTo>
                    <a:pt x="519" y="394"/>
                  </a:lnTo>
                  <a:lnTo>
                    <a:pt x="588" y="391"/>
                  </a:lnTo>
                  <a:lnTo>
                    <a:pt x="542" y="373"/>
                  </a:lnTo>
                  <a:lnTo>
                    <a:pt x="598" y="361"/>
                  </a:lnTo>
                  <a:lnTo>
                    <a:pt x="594" y="347"/>
                  </a:lnTo>
                  <a:lnTo>
                    <a:pt x="492" y="339"/>
                  </a:lnTo>
                  <a:lnTo>
                    <a:pt x="550" y="327"/>
                  </a:lnTo>
                  <a:lnTo>
                    <a:pt x="490" y="323"/>
                  </a:lnTo>
                  <a:lnTo>
                    <a:pt x="598" y="333"/>
                  </a:lnTo>
                  <a:lnTo>
                    <a:pt x="602" y="318"/>
                  </a:lnTo>
                  <a:lnTo>
                    <a:pt x="489" y="312"/>
                  </a:lnTo>
                  <a:lnTo>
                    <a:pt x="636" y="292"/>
                  </a:lnTo>
                  <a:lnTo>
                    <a:pt x="597" y="274"/>
                  </a:lnTo>
                  <a:lnTo>
                    <a:pt x="702" y="281"/>
                  </a:lnTo>
                  <a:lnTo>
                    <a:pt x="735" y="251"/>
                  </a:lnTo>
                  <a:lnTo>
                    <a:pt x="682" y="248"/>
                  </a:lnTo>
                  <a:lnTo>
                    <a:pt x="751" y="246"/>
                  </a:lnTo>
                  <a:lnTo>
                    <a:pt x="742" y="224"/>
                  </a:lnTo>
                  <a:lnTo>
                    <a:pt x="775" y="229"/>
                  </a:lnTo>
                  <a:lnTo>
                    <a:pt x="954" y="139"/>
                  </a:lnTo>
                  <a:lnTo>
                    <a:pt x="756" y="171"/>
                  </a:lnTo>
                  <a:lnTo>
                    <a:pt x="866" y="133"/>
                  </a:lnTo>
                  <a:lnTo>
                    <a:pt x="799" y="137"/>
                  </a:lnTo>
                  <a:lnTo>
                    <a:pt x="784" y="120"/>
                  </a:lnTo>
                  <a:lnTo>
                    <a:pt x="907" y="128"/>
                  </a:lnTo>
                  <a:lnTo>
                    <a:pt x="1066" y="82"/>
                  </a:lnTo>
                  <a:lnTo>
                    <a:pt x="1065" y="60"/>
                  </a:lnTo>
                  <a:lnTo>
                    <a:pt x="998" y="60"/>
                  </a:lnTo>
                  <a:lnTo>
                    <a:pt x="982" y="22"/>
                  </a:lnTo>
                  <a:lnTo>
                    <a:pt x="799" y="39"/>
                  </a:lnTo>
                  <a:lnTo>
                    <a:pt x="878" y="14"/>
                  </a:lnTo>
                  <a:lnTo>
                    <a:pt x="635" y="0"/>
                  </a:lnTo>
                  <a:lnTo>
                    <a:pt x="615" y="18"/>
                  </a:lnTo>
                  <a:lnTo>
                    <a:pt x="632" y="28"/>
                  </a:lnTo>
                  <a:lnTo>
                    <a:pt x="588" y="10"/>
                  </a:lnTo>
                  <a:lnTo>
                    <a:pt x="479" y="11"/>
                  </a:lnTo>
                  <a:lnTo>
                    <a:pt x="556" y="48"/>
                  </a:lnTo>
                  <a:lnTo>
                    <a:pt x="530" y="60"/>
                  </a:lnTo>
                  <a:lnTo>
                    <a:pt x="490" y="21"/>
                  </a:lnTo>
                  <a:lnTo>
                    <a:pt x="390" y="17"/>
                  </a:lnTo>
                  <a:lnTo>
                    <a:pt x="411" y="34"/>
                  </a:lnTo>
                  <a:lnTo>
                    <a:pt x="335" y="28"/>
                  </a:lnTo>
                  <a:lnTo>
                    <a:pt x="372" y="54"/>
                  </a:lnTo>
                  <a:lnTo>
                    <a:pt x="313" y="38"/>
                  </a:lnTo>
                  <a:lnTo>
                    <a:pt x="331" y="54"/>
                  </a:lnTo>
                  <a:lnTo>
                    <a:pt x="296" y="60"/>
                  </a:lnTo>
                  <a:lnTo>
                    <a:pt x="373" y="95"/>
                  </a:lnTo>
                  <a:lnTo>
                    <a:pt x="207" y="55"/>
                  </a:lnTo>
                  <a:lnTo>
                    <a:pt x="165" y="84"/>
                  </a:lnTo>
                  <a:lnTo>
                    <a:pt x="230" y="97"/>
                  </a:lnTo>
                  <a:lnTo>
                    <a:pt x="119" y="87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2" name="Freeform 41"/>
            <p:cNvSpPr>
              <a:spLocks noChangeAspect="1"/>
            </p:cNvSpPr>
            <p:nvPr/>
          </p:nvSpPr>
          <p:spPr bwMode="gray">
            <a:xfrm>
              <a:off x="2005637" y="1549119"/>
              <a:ext cx="716716" cy="612195"/>
            </a:xfrm>
            <a:custGeom>
              <a:avLst/>
              <a:gdLst>
                <a:gd name="T0" fmla="*/ 0 w 997"/>
                <a:gd name="T1" fmla="*/ 8 h 707"/>
                <a:gd name="T2" fmla="*/ 2 w 997"/>
                <a:gd name="T3" fmla="*/ 0 h 707"/>
                <a:gd name="T4" fmla="*/ 2 w 997"/>
                <a:gd name="T5" fmla="*/ 8 h 707"/>
                <a:gd name="T6" fmla="*/ 3 w 997"/>
                <a:gd name="T7" fmla="*/ 16 h 707"/>
                <a:gd name="T8" fmla="*/ 3 w 997"/>
                <a:gd name="T9" fmla="*/ 17 h 707"/>
                <a:gd name="T10" fmla="*/ 3 w 997"/>
                <a:gd name="T11" fmla="*/ 11 h 707"/>
                <a:gd name="T12" fmla="*/ 3 w 997"/>
                <a:gd name="T13" fmla="*/ 6 h 707"/>
                <a:gd name="T14" fmla="*/ 3 w 997"/>
                <a:gd name="T15" fmla="*/ 5 h 707"/>
                <a:gd name="T16" fmla="*/ 3 w 997"/>
                <a:gd name="T17" fmla="*/ 3 h 707"/>
                <a:gd name="T18" fmla="*/ 5 w 997"/>
                <a:gd name="T19" fmla="*/ 1 h 707"/>
                <a:gd name="T20" fmla="*/ 6 w 997"/>
                <a:gd name="T21" fmla="*/ 4 h 707"/>
                <a:gd name="T22" fmla="*/ 6 w 997"/>
                <a:gd name="T23" fmla="*/ 11 h 707"/>
                <a:gd name="T24" fmla="*/ 7 w 997"/>
                <a:gd name="T25" fmla="*/ 10 h 707"/>
                <a:gd name="T26" fmla="*/ 10 w 997"/>
                <a:gd name="T27" fmla="*/ 8 h 707"/>
                <a:gd name="T28" fmla="*/ 10 w 997"/>
                <a:gd name="T29" fmla="*/ 14 h 707"/>
                <a:gd name="T30" fmla="*/ 10 w 997"/>
                <a:gd name="T31" fmla="*/ 15 h 707"/>
                <a:gd name="T32" fmla="*/ 11 w 997"/>
                <a:gd name="T33" fmla="*/ 13 h 707"/>
                <a:gd name="T34" fmla="*/ 12 w 997"/>
                <a:gd name="T35" fmla="*/ 16 h 707"/>
                <a:gd name="T36" fmla="*/ 13 w 997"/>
                <a:gd name="T37" fmla="*/ 17 h 707"/>
                <a:gd name="T38" fmla="*/ 13 w 997"/>
                <a:gd name="T39" fmla="*/ 18 h 707"/>
                <a:gd name="T40" fmla="*/ 14 w 997"/>
                <a:gd name="T41" fmla="*/ 20 h 707"/>
                <a:gd name="T42" fmla="*/ 14 w 997"/>
                <a:gd name="T43" fmla="*/ 21 h 707"/>
                <a:gd name="T44" fmla="*/ 15 w 997"/>
                <a:gd name="T45" fmla="*/ 21 h 707"/>
                <a:gd name="T46" fmla="*/ 14 w 997"/>
                <a:gd name="T47" fmla="*/ 25 h 707"/>
                <a:gd name="T48" fmla="*/ 14 w 997"/>
                <a:gd name="T49" fmla="*/ 27 h 707"/>
                <a:gd name="T50" fmla="*/ 14 w 997"/>
                <a:gd name="T51" fmla="*/ 30 h 707"/>
                <a:gd name="T52" fmla="*/ 16 w 997"/>
                <a:gd name="T53" fmla="*/ 33 h 707"/>
                <a:gd name="T54" fmla="*/ 18 w 997"/>
                <a:gd name="T55" fmla="*/ 38 h 707"/>
                <a:gd name="T56" fmla="*/ 19 w 997"/>
                <a:gd name="T57" fmla="*/ 41 h 707"/>
                <a:gd name="T58" fmla="*/ 18 w 997"/>
                <a:gd name="T59" fmla="*/ 43 h 707"/>
                <a:gd name="T60" fmla="*/ 18 w 997"/>
                <a:gd name="T61" fmla="*/ 47 h 707"/>
                <a:gd name="T62" fmla="*/ 17 w 997"/>
                <a:gd name="T63" fmla="*/ 51 h 707"/>
                <a:gd name="T64" fmla="*/ 15 w 997"/>
                <a:gd name="T65" fmla="*/ 43 h 707"/>
                <a:gd name="T66" fmla="*/ 15 w 997"/>
                <a:gd name="T67" fmla="*/ 47 h 707"/>
                <a:gd name="T68" fmla="*/ 15 w 997"/>
                <a:gd name="T69" fmla="*/ 51 h 707"/>
                <a:gd name="T70" fmla="*/ 16 w 997"/>
                <a:gd name="T71" fmla="*/ 54 h 707"/>
                <a:gd name="T72" fmla="*/ 16 w 997"/>
                <a:gd name="T73" fmla="*/ 62 h 707"/>
                <a:gd name="T74" fmla="*/ 15 w 997"/>
                <a:gd name="T75" fmla="*/ 65 h 707"/>
                <a:gd name="T76" fmla="*/ 12 w 997"/>
                <a:gd name="T77" fmla="*/ 57 h 707"/>
                <a:gd name="T78" fmla="*/ 11 w 997"/>
                <a:gd name="T79" fmla="*/ 55 h 707"/>
                <a:gd name="T80" fmla="*/ 10 w 997"/>
                <a:gd name="T81" fmla="*/ 51 h 707"/>
                <a:gd name="T82" fmla="*/ 9 w 997"/>
                <a:gd name="T83" fmla="*/ 52 h 707"/>
                <a:gd name="T84" fmla="*/ 8 w 997"/>
                <a:gd name="T85" fmla="*/ 52 h 707"/>
                <a:gd name="T86" fmla="*/ 11 w 997"/>
                <a:gd name="T87" fmla="*/ 47 h 707"/>
                <a:gd name="T88" fmla="*/ 12 w 997"/>
                <a:gd name="T89" fmla="*/ 38 h 707"/>
                <a:gd name="T90" fmla="*/ 10 w 997"/>
                <a:gd name="T91" fmla="*/ 30 h 707"/>
                <a:gd name="T92" fmla="*/ 8 w 997"/>
                <a:gd name="T93" fmla="*/ 30 h 707"/>
                <a:gd name="T94" fmla="*/ 9 w 997"/>
                <a:gd name="T95" fmla="*/ 27 h 707"/>
                <a:gd name="T96" fmla="*/ 8 w 997"/>
                <a:gd name="T97" fmla="*/ 21 h 707"/>
                <a:gd name="T98" fmla="*/ 7 w 997"/>
                <a:gd name="T99" fmla="*/ 23 h 707"/>
                <a:gd name="T100" fmla="*/ 6 w 997"/>
                <a:gd name="T101" fmla="*/ 24 h 707"/>
                <a:gd name="T102" fmla="*/ 0 w 997"/>
                <a:gd name="T103" fmla="*/ 17 h 707"/>
                <a:gd name="T104" fmla="*/ 0 w 997"/>
                <a:gd name="T105" fmla="*/ 15 h 70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997"/>
                <a:gd name="T160" fmla="*/ 0 h 707"/>
                <a:gd name="T161" fmla="*/ 997 w 997"/>
                <a:gd name="T162" fmla="*/ 707 h 70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997" h="707">
                  <a:moveTo>
                    <a:pt x="0" y="158"/>
                  </a:moveTo>
                  <a:lnTo>
                    <a:pt x="8" y="82"/>
                  </a:lnTo>
                  <a:lnTo>
                    <a:pt x="49" y="25"/>
                  </a:lnTo>
                  <a:lnTo>
                    <a:pt x="119" y="0"/>
                  </a:lnTo>
                  <a:lnTo>
                    <a:pt x="176" y="10"/>
                  </a:lnTo>
                  <a:lnTo>
                    <a:pt x="115" y="82"/>
                  </a:lnTo>
                  <a:lnTo>
                    <a:pt x="131" y="125"/>
                  </a:lnTo>
                  <a:lnTo>
                    <a:pt x="176" y="167"/>
                  </a:lnTo>
                  <a:lnTo>
                    <a:pt x="119" y="183"/>
                  </a:lnTo>
                  <a:lnTo>
                    <a:pt x="179" y="182"/>
                  </a:lnTo>
                  <a:lnTo>
                    <a:pt x="186" y="144"/>
                  </a:lnTo>
                  <a:lnTo>
                    <a:pt x="142" y="122"/>
                  </a:lnTo>
                  <a:lnTo>
                    <a:pt x="179" y="98"/>
                  </a:lnTo>
                  <a:lnTo>
                    <a:pt x="151" y="63"/>
                  </a:lnTo>
                  <a:lnTo>
                    <a:pt x="209" y="72"/>
                  </a:lnTo>
                  <a:lnTo>
                    <a:pt x="157" y="55"/>
                  </a:lnTo>
                  <a:lnTo>
                    <a:pt x="217" y="59"/>
                  </a:lnTo>
                  <a:lnTo>
                    <a:pt x="175" y="34"/>
                  </a:lnTo>
                  <a:lnTo>
                    <a:pt x="224" y="37"/>
                  </a:lnTo>
                  <a:lnTo>
                    <a:pt x="255" y="10"/>
                  </a:lnTo>
                  <a:lnTo>
                    <a:pt x="295" y="8"/>
                  </a:lnTo>
                  <a:lnTo>
                    <a:pt x="297" y="41"/>
                  </a:lnTo>
                  <a:lnTo>
                    <a:pt x="327" y="55"/>
                  </a:lnTo>
                  <a:lnTo>
                    <a:pt x="316" y="125"/>
                  </a:lnTo>
                  <a:lnTo>
                    <a:pt x="355" y="92"/>
                  </a:lnTo>
                  <a:lnTo>
                    <a:pt x="378" y="106"/>
                  </a:lnTo>
                  <a:lnTo>
                    <a:pt x="432" y="73"/>
                  </a:lnTo>
                  <a:lnTo>
                    <a:pt x="515" y="92"/>
                  </a:lnTo>
                  <a:lnTo>
                    <a:pt x="549" y="125"/>
                  </a:lnTo>
                  <a:lnTo>
                    <a:pt x="525" y="144"/>
                  </a:lnTo>
                  <a:lnTo>
                    <a:pt x="574" y="136"/>
                  </a:lnTo>
                  <a:lnTo>
                    <a:pt x="558" y="156"/>
                  </a:lnTo>
                  <a:lnTo>
                    <a:pt x="587" y="167"/>
                  </a:lnTo>
                  <a:lnTo>
                    <a:pt x="611" y="142"/>
                  </a:lnTo>
                  <a:lnTo>
                    <a:pt x="648" y="155"/>
                  </a:lnTo>
                  <a:lnTo>
                    <a:pt x="658" y="176"/>
                  </a:lnTo>
                  <a:lnTo>
                    <a:pt x="626" y="182"/>
                  </a:lnTo>
                  <a:lnTo>
                    <a:pt x="675" y="182"/>
                  </a:lnTo>
                  <a:lnTo>
                    <a:pt x="668" y="209"/>
                  </a:lnTo>
                  <a:lnTo>
                    <a:pt x="702" y="194"/>
                  </a:lnTo>
                  <a:lnTo>
                    <a:pt x="680" y="217"/>
                  </a:lnTo>
                  <a:lnTo>
                    <a:pt x="751" y="211"/>
                  </a:lnTo>
                  <a:lnTo>
                    <a:pt x="712" y="235"/>
                  </a:lnTo>
                  <a:lnTo>
                    <a:pt x="745" y="235"/>
                  </a:lnTo>
                  <a:lnTo>
                    <a:pt x="732" y="252"/>
                  </a:lnTo>
                  <a:lnTo>
                    <a:pt x="763" y="229"/>
                  </a:lnTo>
                  <a:lnTo>
                    <a:pt x="795" y="253"/>
                  </a:lnTo>
                  <a:lnTo>
                    <a:pt x="738" y="274"/>
                  </a:lnTo>
                  <a:lnTo>
                    <a:pt x="821" y="291"/>
                  </a:lnTo>
                  <a:lnTo>
                    <a:pt x="749" y="296"/>
                  </a:lnTo>
                  <a:lnTo>
                    <a:pt x="777" y="308"/>
                  </a:lnTo>
                  <a:lnTo>
                    <a:pt x="755" y="330"/>
                  </a:lnTo>
                  <a:lnTo>
                    <a:pt x="838" y="372"/>
                  </a:lnTo>
                  <a:lnTo>
                    <a:pt x="878" y="364"/>
                  </a:lnTo>
                  <a:lnTo>
                    <a:pt x="898" y="414"/>
                  </a:lnTo>
                  <a:lnTo>
                    <a:pt x="940" y="411"/>
                  </a:lnTo>
                  <a:lnTo>
                    <a:pt x="933" y="432"/>
                  </a:lnTo>
                  <a:lnTo>
                    <a:pt x="997" y="444"/>
                  </a:lnTo>
                  <a:lnTo>
                    <a:pt x="988" y="471"/>
                  </a:lnTo>
                  <a:lnTo>
                    <a:pt x="958" y="466"/>
                  </a:lnTo>
                  <a:lnTo>
                    <a:pt x="971" y="483"/>
                  </a:lnTo>
                  <a:lnTo>
                    <a:pt x="955" y="507"/>
                  </a:lnTo>
                  <a:lnTo>
                    <a:pt x="926" y="496"/>
                  </a:lnTo>
                  <a:lnTo>
                    <a:pt x="921" y="546"/>
                  </a:lnTo>
                  <a:lnTo>
                    <a:pt x="807" y="454"/>
                  </a:lnTo>
                  <a:lnTo>
                    <a:pt x="765" y="463"/>
                  </a:lnTo>
                  <a:lnTo>
                    <a:pt x="795" y="484"/>
                  </a:lnTo>
                  <a:lnTo>
                    <a:pt x="772" y="507"/>
                  </a:lnTo>
                  <a:lnTo>
                    <a:pt x="790" y="506"/>
                  </a:lnTo>
                  <a:lnTo>
                    <a:pt x="815" y="551"/>
                  </a:lnTo>
                  <a:lnTo>
                    <a:pt x="870" y="562"/>
                  </a:lnTo>
                  <a:lnTo>
                    <a:pt x="865" y="588"/>
                  </a:lnTo>
                  <a:lnTo>
                    <a:pt x="896" y="610"/>
                  </a:lnTo>
                  <a:lnTo>
                    <a:pt x="880" y="672"/>
                  </a:lnTo>
                  <a:lnTo>
                    <a:pt x="738" y="609"/>
                  </a:lnTo>
                  <a:lnTo>
                    <a:pt x="832" y="707"/>
                  </a:lnTo>
                  <a:lnTo>
                    <a:pt x="653" y="652"/>
                  </a:lnTo>
                  <a:lnTo>
                    <a:pt x="628" y="619"/>
                  </a:lnTo>
                  <a:lnTo>
                    <a:pt x="652" y="616"/>
                  </a:lnTo>
                  <a:lnTo>
                    <a:pt x="595" y="597"/>
                  </a:lnTo>
                  <a:lnTo>
                    <a:pt x="578" y="559"/>
                  </a:lnTo>
                  <a:lnTo>
                    <a:pt x="533" y="546"/>
                  </a:lnTo>
                  <a:lnTo>
                    <a:pt x="531" y="572"/>
                  </a:lnTo>
                  <a:lnTo>
                    <a:pt x="504" y="559"/>
                  </a:lnTo>
                  <a:lnTo>
                    <a:pt x="465" y="583"/>
                  </a:lnTo>
                  <a:lnTo>
                    <a:pt x="415" y="559"/>
                  </a:lnTo>
                  <a:lnTo>
                    <a:pt x="442" y="516"/>
                  </a:lnTo>
                  <a:lnTo>
                    <a:pt x="574" y="516"/>
                  </a:lnTo>
                  <a:lnTo>
                    <a:pt x="542" y="473"/>
                  </a:lnTo>
                  <a:lnTo>
                    <a:pt x="617" y="411"/>
                  </a:lnTo>
                  <a:lnTo>
                    <a:pt x="564" y="328"/>
                  </a:lnTo>
                  <a:lnTo>
                    <a:pt x="527" y="320"/>
                  </a:lnTo>
                  <a:lnTo>
                    <a:pt x="548" y="306"/>
                  </a:lnTo>
                  <a:lnTo>
                    <a:pt x="466" y="329"/>
                  </a:lnTo>
                  <a:lnTo>
                    <a:pt x="465" y="304"/>
                  </a:lnTo>
                  <a:lnTo>
                    <a:pt x="496" y="291"/>
                  </a:lnTo>
                  <a:lnTo>
                    <a:pt x="433" y="259"/>
                  </a:lnTo>
                  <a:lnTo>
                    <a:pt x="432" y="233"/>
                  </a:lnTo>
                  <a:lnTo>
                    <a:pt x="377" y="220"/>
                  </a:lnTo>
                  <a:lnTo>
                    <a:pt x="390" y="254"/>
                  </a:lnTo>
                  <a:lnTo>
                    <a:pt x="294" y="242"/>
                  </a:lnTo>
                  <a:lnTo>
                    <a:pt x="318" y="262"/>
                  </a:lnTo>
                  <a:lnTo>
                    <a:pt x="66" y="227"/>
                  </a:lnTo>
                  <a:lnTo>
                    <a:pt x="22" y="182"/>
                  </a:lnTo>
                  <a:lnTo>
                    <a:pt x="101" y="184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3" name="Freeform 42"/>
            <p:cNvSpPr>
              <a:spLocks noChangeAspect="1"/>
            </p:cNvSpPr>
            <p:nvPr/>
          </p:nvSpPr>
          <p:spPr bwMode="gray">
            <a:xfrm>
              <a:off x="2077615" y="1973839"/>
              <a:ext cx="163864" cy="132725"/>
            </a:xfrm>
            <a:custGeom>
              <a:avLst/>
              <a:gdLst>
                <a:gd name="T0" fmla="*/ 0 w 231"/>
                <a:gd name="T1" fmla="*/ 11 h 154"/>
                <a:gd name="T2" fmla="*/ 0 w 231"/>
                <a:gd name="T3" fmla="*/ 8 h 154"/>
                <a:gd name="T4" fmla="*/ 1 w 231"/>
                <a:gd name="T5" fmla="*/ 0 h 154"/>
                <a:gd name="T6" fmla="*/ 1 w 231"/>
                <a:gd name="T7" fmla="*/ 3 h 154"/>
                <a:gd name="T8" fmla="*/ 2 w 231"/>
                <a:gd name="T9" fmla="*/ 4 h 154"/>
                <a:gd name="T10" fmla="*/ 4 w 231"/>
                <a:gd name="T11" fmla="*/ 10 h 154"/>
                <a:gd name="T12" fmla="*/ 3 w 231"/>
                <a:gd name="T13" fmla="*/ 12 h 154"/>
                <a:gd name="T14" fmla="*/ 2 w 231"/>
                <a:gd name="T15" fmla="*/ 9 h 154"/>
                <a:gd name="T16" fmla="*/ 1 w 231"/>
                <a:gd name="T17" fmla="*/ 13 h 154"/>
                <a:gd name="T18" fmla="*/ 1 w 231"/>
                <a:gd name="T19" fmla="*/ 10 h 154"/>
                <a:gd name="T20" fmla="*/ 0 w 231"/>
                <a:gd name="T21" fmla="*/ 11 h 1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1"/>
                <a:gd name="T34" fmla="*/ 0 h 154"/>
                <a:gd name="T35" fmla="*/ 231 w 231"/>
                <a:gd name="T36" fmla="*/ 154 h 15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1" h="154">
                  <a:moveTo>
                    <a:pt x="0" y="126"/>
                  </a:moveTo>
                  <a:lnTo>
                    <a:pt x="34" y="95"/>
                  </a:lnTo>
                  <a:lnTo>
                    <a:pt x="56" y="0"/>
                  </a:lnTo>
                  <a:lnTo>
                    <a:pt x="75" y="34"/>
                  </a:lnTo>
                  <a:lnTo>
                    <a:pt x="128" y="43"/>
                  </a:lnTo>
                  <a:lnTo>
                    <a:pt x="231" y="112"/>
                  </a:lnTo>
                  <a:lnTo>
                    <a:pt x="217" y="137"/>
                  </a:lnTo>
                  <a:lnTo>
                    <a:pt x="124" y="104"/>
                  </a:lnTo>
                  <a:lnTo>
                    <a:pt x="67" y="154"/>
                  </a:lnTo>
                  <a:lnTo>
                    <a:pt x="52" y="112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4" name="Freeform 43"/>
            <p:cNvSpPr>
              <a:spLocks noChangeAspect="1"/>
            </p:cNvSpPr>
            <p:nvPr/>
          </p:nvSpPr>
          <p:spPr bwMode="gray">
            <a:xfrm>
              <a:off x="2775953" y="2600966"/>
              <a:ext cx="165396" cy="190792"/>
            </a:xfrm>
            <a:custGeom>
              <a:avLst/>
              <a:gdLst>
                <a:gd name="T0" fmla="*/ 0 w 234"/>
                <a:gd name="T1" fmla="*/ 13 h 223"/>
                <a:gd name="T2" fmla="*/ 1 w 234"/>
                <a:gd name="T3" fmla="*/ 1 h 223"/>
                <a:gd name="T4" fmla="*/ 2 w 234"/>
                <a:gd name="T5" fmla="*/ 0 h 223"/>
                <a:gd name="T6" fmla="*/ 1 w 234"/>
                <a:gd name="T7" fmla="*/ 7 h 223"/>
                <a:gd name="T8" fmla="*/ 2 w 234"/>
                <a:gd name="T9" fmla="*/ 5 h 223"/>
                <a:gd name="T10" fmla="*/ 2 w 234"/>
                <a:gd name="T11" fmla="*/ 8 h 223"/>
                <a:gd name="T12" fmla="*/ 3 w 234"/>
                <a:gd name="T13" fmla="*/ 8 h 223"/>
                <a:gd name="T14" fmla="*/ 3 w 234"/>
                <a:gd name="T15" fmla="*/ 11 h 223"/>
                <a:gd name="T16" fmla="*/ 3 w 234"/>
                <a:gd name="T17" fmla="*/ 10 h 223"/>
                <a:gd name="T18" fmla="*/ 3 w 234"/>
                <a:gd name="T19" fmla="*/ 13 h 223"/>
                <a:gd name="T20" fmla="*/ 3 w 234"/>
                <a:gd name="T21" fmla="*/ 12 h 223"/>
                <a:gd name="T22" fmla="*/ 3 w 234"/>
                <a:gd name="T23" fmla="*/ 14 h 223"/>
                <a:gd name="T24" fmla="*/ 3 w 234"/>
                <a:gd name="T25" fmla="*/ 17 h 223"/>
                <a:gd name="T26" fmla="*/ 3 w 234"/>
                <a:gd name="T27" fmla="*/ 15 h 223"/>
                <a:gd name="T28" fmla="*/ 3 w 234"/>
                <a:gd name="T29" fmla="*/ 16 h 223"/>
                <a:gd name="T30" fmla="*/ 3 w 234"/>
                <a:gd name="T31" fmla="*/ 13 h 223"/>
                <a:gd name="T32" fmla="*/ 2 w 234"/>
                <a:gd name="T33" fmla="*/ 16 h 223"/>
                <a:gd name="T34" fmla="*/ 2 w 234"/>
                <a:gd name="T35" fmla="*/ 14 h 223"/>
                <a:gd name="T36" fmla="*/ 2 w 234"/>
                <a:gd name="T37" fmla="*/ 14 h 223"/>
                <a:gd name="T38" fmla="*/ 2 w 234"/>
                <a:gd name="T39" fmla="*/ 13 h 223"/>
                <a:gd name="T40" fmla="*/ 0 w 234"/>
                <a:gd name="T41" fmla="*/ 13 h 22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34"/>
                <a:gd name="T64" fmla="*/ 0 h 223"/>
                <a:gd name="T65" fmla="*/ 234 w 234"/>
                <a:gd name="T66" fmla="*/ 223 h 22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34" h="223">
                  <a:moveTo>
                    <a:pt x="0" y="174"/>
                  </a:moveTo>
                  <a:lnTo>
                    <a:pt x="95" y="11"/>
                  </a:lnTo>
                  <a:lnTo>
                    <a:pt x="133" y="0"/>
                  </a:lnTo>
                  <a:lnTo>
                    <a:pt x="89" y="87"/>
                  </a:lnTo>
                  <a:lnTo>
                    <a:pt x="119" y="68"/>
                  </a:lnTo>
                  <a:lnTo>
                    <a:pt x="138" y="104"/>
                  </a:lnTo>
                  <a:lnTo>
                    <a:pt x="201" y="104"/>
                  </a:lnTo>
                  <a:lnTo>
                    <a:pt x="187" y="139"/>
                  </a:lnTo>
                  <a:lnTo>
                    <a:pt x="219" y="136"/>
                  </a:lnTo>
                  <a:lnTo>
                    <a:pt x="197" y="172"/>
                  </a:lnTo>
                  <a:lnTo>
                    <a:pt x="226" y="151"/>
                  </a:lnTo>
                  <a:lnTo>
                    <a:pt x="234" y="185"/>
                  </a:lnTo>
                  <a:lnTo>
                    <a:pt x="203" y="223"/>
                  </a:lnTo>
                  <a:lnTo>
                    <a:pt x="201" y="196"/>
                  </a:lnTo>
                  <a:lnTo>
                    <a:pt x="186" y="210"/>
                  </a:lnTo>
                  <a:lnTo>
                    <a:pt x="186" y="167"/>
                  </a:lnTo>
                  <a:lnTo>
                    <a:pt x="128" y="210"/>
                  </a:lnTo>
                  <a:lnTo>
                    <a:pt x="161" y="181"/>
                  </a:lnTo>
                  <a:lnTo>
                    <a:pt x="115" y="185"/>
                  </a:lnTo>
                  <a:lnTo>
                    <a:pt x="126" y="168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5" name="Freeform 44"/>
            <p:cNvSpPr>
              <a:spLocks noChangeAspect="1"/>
            </p:cNvSpPr>
            <p:nvPr/>
          </p:nvSpPr>
          <p:spPr bwMode="gray">
            <a:xfrm>
              <a:off x="6256925" y="3999557"/>
              <a:ext cx="44412" cy="112816"/>
            </a:xfrm>
            <a:custGeom>
              <a:avLst/>
              <a:gdLst>
                <a:gd name="T0" fmla="*/ 0 w 65"/>
                <a:gd name="T1" fmla="*/ 0 h 130"/>
                <a:gd name="T2" fmla="*/ 0 w 65"/>
                <a:gd name="T3" fmla="*/ 13 h 130"/>
                <a:gd name="T4" fmla="*/ 0 w 65"/>
                <a:gd name="T5" fmla="*/ 10 h 130"/>
                <a:gd name="T6" fmla="*/ 0 w 65"/>
                <a:gd name="T7" fmla="*/ 3 h 130"/>
                <a:gd name="T8" fmla="*/ 0 w 65"/>
                <a:gd name="T9" fmla="*/ 0 h 1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5"/>
                <a:gd name="T16" fmla="*/ 0 h 130"/>
                <a:gd name="T17" fmla="*/ 65 w 65"/>
                <a:gd name="T18" fmla="*/ 130 h 1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5" h="130">
                  <a:moveTo>
                    <a:pt x="0" y="0"/>
                  </a:moveTo>
                  <a:lnTo>
                    <a:pt x="11" y="130"/>
                  </a:lnTo>
                  <a:lnTo>
                    <a:pt x="65" y="107"/>
                  </a:lnTo>
                  <a:lnTo>
                    <a:pt x="39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6" name="Freeform 45"/>
            <p:cNvSpPr>
              <a:spLocks noChangeAspect="1"/>
            </p:cNvSpPr>
            <p:nvPr/>
          </p:nvSpPr>
          <p:spPr bwMode="gray">
            <a:xfrm>
              <a:off x="2370121" y="4819135"/>
              <a:ext cx="205213" cy="1254253"/>
            </a:xfrm>
            <a:custGeom>
              <a:avLst/>
              <a:gdLst>
                <a:gd name="T0" fmla="*/ 0 w 289"/>
                <a:gd name="T1" fmla="*/ 103 h 1450"/>
                <a:gd name="T2" fmla="*/ 0 w 289"/>
                <a:gd name="T3" fmla="*/ 99 h 1450"/>
                <a:gd name="T4" fmla="*/ 1 w 289"/>
                <a:gd name="T5" fmla="*/ 102 h 1450"/>
                <a:gd name="T6" fmla="*/ 1 w 289"/>
                <a:gd name="T7" fmla="*/ 95 h 1450"/>
                <a:gd name="T8" fmla="*/ 1 w 289"/>
                <a:gd name="T9" fmla="*/ 92 h 1450"/>
                <a:gd name="T10" fmla="*/ 2 w 289"/>
                <a:gd name="T11" fmla="*/ 83 h 1450"/>
                <a:gd name="T12" fmla="*/ 1 w 289"/>
                <a:gd name="T13" fmla="*/ 82 h 1450"/>
                <a:gd name="T14" fmla="*/ 1 w 289"/>
                <a:gd name="T15" fmla="*/ 67 h 1450"/>
                <a:gd name="T16" fmla="*/ 2 w 289"/>
                <a:gd name="T17" fmla="*/ 52 h 1450"/>
                <a:gd name="T18" fmla="*/ 2 w 289"/>
                <a:gd name="T19" fmla="*/ 39 h 1450"/>
                <a:gd name="T20" fmla="*/ 3 w 289"/>
                <a:gd name="T21" fmla="*/ 14 h 1450"/>
                <a:gd name="T22" fmla="*/ 3 w 289"/>
                <a:gd name="T23" fmla="*/ 2 h 1450"/>
                <a:gd name="T24" fmla="*/ 3 w 289"/>
                <a:gd name="T25" fmla="*/ 0 h 1450"/>
                <a:gd name="T26" fmla="*/ 4 w 289"/>
                <a:gd name="T27" fmla="*/ 6 h 1450"/>
                <a:gd name="T28" fmla="*/ 4 w 289"/>
                <a:gd name="T29" fmla="*/ 17 h 1450"/>
                <a:gd name="T30" fmla="*/ 5 w 289"/>
                <a:gd name="T31" fmla="*/ 18 h 1450"/>
                <a:gd name="T32" fmla="*/ 5 w 289"/>
                <a:gd name="T33" fmla="*/ 21 h 1450"/>
                <a:gd name="T34" fmla="*/ 4 w 289"/>
                <a:gd name="T35" fmla="*/ 23 h 1450"/>
                <a:gd name="T36" fmla="*/ 4 w 289"/>
                <a:gd name="T37" fmla="*/ 31 h 1450"/>
                <a:gd name="T38" fmla="*/ 3 w 289"/>
                <a:gd name="T39" fmla="*/ 35 h 1450"/>
                <a:gd name="T40" fmla="*/ 3 w 289"/>
                <a:gd name="T41" fmla="*/ 46 h 1450"/>
                <a:gd name="T42" fmla="*/ 3 w 289"/>
                <a:gd name="T43" fmla="*/ 56 h 1450"/>
                <a:gd name="T44" fmla="*/ 2 w 289"/>
                <a:gd name="T45" fmla="*/ 65 h 1450"/>
                <a:gd name="T46" fmla="*/ 2 w 289"/>
                <a:gd name="T47" fmla="*/ 87 h 1450"/>
                <a:gd name="T48" fmla="*/ 2 w 289"/>
                <a:gd name="T49" fmla="*/ 94 h 1450"/>
                <a:gd name="T50" fmla="*/ 2 w 289"/>
                <a:gd name="T51" fmla="*/ 95 h 1450"/>
                <a:gd name="T52" fmla="*/ 2 w 289"/>
                <a:gd name="T53" fmla="*/ 102 h 1450"/>
                <a:gd name="T54" fmla="*/ 1 w 289"/>
                <a:gd name="T55" fmla="*/ 117 h 1450"/>
                <a:gd name="T56" fmla="*/ 1 w 289"/>
                <a:gd name="T57" fmla="*/ 119 h 1450"/>
                <a:gd name="T58" fmla="*/ 2 w 289"/>
                <a:gd name="T59" fmla="*/ 118 h 1450"/>
                <a:gd name="T60" fmla="*/ 2 w 289"/>
                <a:gd name="T61" fmla="*/ 124 h 1450"/>
                <a:gd name="T62" fmla="*/ 4 w 289"/>
                <a:gd name="T63" fmla="*/ 125 h 1450"/>
                <a:gd name="T64" fmla="*/ 3 w 289"/>
                <a:gd name="T65" fmla="*/ 127 h 1450"/>
                <a:gd name="T66" fmla="*/ 2 w 289"/>
                <a:gd name="T67" fmla="*/ 131 h 1450"/>
                <a:gd name="T68" fmla="*/ 2 w 289"/>
                <a:gd name="T69" fmla="*/ 130 h 1450"/>
                <a:gd name="T70" fmla="*/ 3 w 289"/>
                <a:gd name="T71" fmla="*/ 128 h 1450"/>
                <a:gd name="T72" fmla="*/ 1 w 289"/>
                <a:gd name="T73" fmla="*/ 127 h 1450"/>
                <a:gd name="T74" fmla="*/ 1 w 289"/>
                <a:gd name="T75" fmla="*/ 122 h 1450"/>
                <a:gd name="T76" fmla="*/ 1 w 289"/>
                <a:gd name="T77" fmla="*/ 124 h 1450"/>
                <a:gd name="T78" fmla="*/ 1 w 289"/>
                <a:gd name="T79" fmla="*/ 120 h 1450"/>
                <a:gd name="T80" fmla="*/ 1 w 289"/>
                <a:gd name="T81" fmla="*/ 118 h 1450"/>
                <a:gd name="T82" fmla="*/ 0 w 289"/>
                <a:gd name="T83" fmla="*/ 117 h 1450"/>
                <a:gd name="T84" fmla="*/ 1 w 289"/>
                <a:gd name="T85" fmla="*/ 114 h 1450"/>
                <a:gd name="T86" fmla="*/ 0 w 289"/>
                <a:gd name="T87" fmla="*/ 107 h 1450"/>
                <a:gd name="T88" fmla="*/ 1 w 289"/>
                <a:gd name="T89" fmla="*/ 108 h 1450"/>
                <a:gd name="T90" fmla="*/ 0 w 289"/>
                <a:gd name="T91" fmla="*/ 105 h 1450"/>
                <a:gd name="T92" fmla="*/ 0 w 289"/>
                <a:gd name="T93" fmla="*/ 103 h 1450"/>
                <a:gd name="T94" fmla="*/ 0 w 289"/>
                <a:gd name="T95" fmla="*/ 103 h 14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9"/>
                <a:gd name="T145" fmla="*/ 0 h 1450"/>
                <a:gd name="T146" fmla="*/ 289 w 289"/>
                <a:gd name="T147" fmla="*/ 1450 h 14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9" h="1450">
                  <a:moveTo>
                    <a:pt x="0" y="1133"/>
                  </a:moveTo>
                  <a:lnTo>
                    <a:pt x="22" y="1094"/>
                  </a:lnTo>
                  <a:lnTo>
                    <a:pt x="62" y="1122"/>
                  </a:lnTo>
                  <a:lnTo>
                    <a:pt x="98" y="1047"/>
                  </a:lnTo>
                  <a:lnTo>
                    <a:pt x="85" y="1019"/>
                  </a:lnTo>
                  <a:lnTo>
                    <a:pt x="114" y="916"/>
                  </a:lnTo>
                  <a:lnTo>
                    <a:pt x="60" y="908"/>
                  </a:lnTo>
                  <a:lnTo>
                    <a:pt x="69" y="742"/>
                  </a:lnTo>
                  <a:lnTo>
                    <a:pt x="140" y="569"/>
                  </a:lnTo>
                  <a:lnTo>
                    <a:pt x="139" y="424"/>
                  </a:lnTo>
                  <a:lnTo>
                    <a:pt x="189" y="147"/>
                  </a:lnTo>
                  <a:lnTo>
                    <a:pt x="173" y="25"/>
                  </a:lnTo>
                  <a:lnTo>
                    <a:pt x="207" y="0"/>
                  </a:lnTo>
                  <a:lnTo>
                    <a:pt x="243" y="63"/>
                  </a:lnTo>
                  <a:lnTo>
                    <a:pt x="265" y="191"/>
                  </a:lnTo>
                  <a:lnTo>
                    <a:pt x="289" y="195"/>
                  </a:lnTo>
                  <a:lnTo>
                    <a:pt x="285" y="238"/>
                  </a:lnTo>
                  <a:lnTo>
                    <a:pt x="247" y="256"/>
                  </a:lnTo>
                  <a:lnTo>
                    <a:pt x="249" y="340"/>
                  </a:lnTo>
                  <a:lnTo>
                    <a:pt x="207" y="387"/>
                  </a:lnTo>
                  <a:lnTo>
                    <a:pt x="174" y="506"/>
                  </a:lnTo>
                  <a:lnTo>
                    <a:pt x="199" y="619"/>
                  </a:lnTo>
                  <a:lnTo>
                    <a:pt x="154" y="715"/>
                  </a:lnTo>
                  <a:lnTo>
                    <a:pt x="123" y="953"/>
                  </a:lnTo>
                  <a:lnTo>
                    <a:pt x="147" y="1040"/>
                  </a:lnTo>
                  <a:lnTo>
                    <a:pt x="124" y="1047"/>
                  </a:lnTo>
                  <a:lnTo>
                    <a:pt x="136" y="1124"/>
                  </a:lnTo>
                  <a:lnTo>
                    <a:pt x="77" y="1286"/>
                  </a:lnTo>
                  <a:lnTo>
                    <a:pt x="82" y="1313"/>
                  </a:lnTo>
                  <a:lnTo>
                    <a:pt x="112" y="1303"/>
                  </a:lnTo>
                  <a:lnTo>
                    <a:pt x="123" y="1365"/>
                  </a:lnTo>
                  <a:lnTo>
                    <a:pt x="249" y="1378"/>
                  </a:lnTo>
                  <a:lnTo>
                    <a:pt x="164" y="1402"/>
                  </a:lnTo>
                  <a:lnTo>
                    <a:pt x="154" y="1450"/>
                  </a:lnTo>
                  <a:lnTo>
                    <a:pt x="118" y="1436"/>
                  </a:lnTo>
                  <a:lnTo>
                    <a:pt x="158" y="1407"/>
                  </a:lnTo>
                  <a:lnTo>
                    <a:pt x="97" y="1393"/>
                  </a:lnTo>
                  <a:lnTo>
                    <a:pt x="90" y="1342"/>
                  </a:lnTo>
                  <a:lnTo>
                    <a:pt x="74" y="1367"/>
                  </a:lnTo>
                  <a:lnTo>
                    <a:pt x="52" y="1319"/>
                  </a:lnTo>
                  <a:lnTo>
                    <a:pt x="63" y="1305"/>
                  </a:lnTo>
                  <a:lnTo>
                    <a:pt x="36" y="1283"/>
                  </a:lnTo>
                  <a:lnTo>
                    <a:pt x="60" y="1256"/>
                  </a:lnTo>
                  <a:lnTo>
                    <a:pt x="37" y="1187"/>
                  </a:lnTo>
                  <a:lnTo>
                    <a:pt x="81" y="1194"/>
                  </a:lnTo>
                  <a:lnTo>
                    <a:pt x="37" y="1157"/>
                  </a:lnTo>
                  <a:lnTo>
                    <a:pt x="47" y="1130"/>
                  </a:lnTo>
                  <a:lnTo>
                    <a:pt x="0" y="1133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7" name="Freeform 46"/>
            <p:cNvSpPr>
              <a:spLocks noChangeAspect="1"/>
            </p:cNvSpPr>
            <p:nvPr/>
          </p:nvSpPr>
          <p:spPr bwMode="gray">
            <a:xfrm>
              <a:off x="2380841" y="5870981"/>
              <a:ext cx="15314" cy="48113"/>
            </a:xfrm>
            <a:custGeom>
              <a:avLst/>
              <a:gdLst>
                <a:gd name="T0" fmla="*/ 0 w 22"/>
                <a:gd name="T1" fmla="*/ 5 h 53"/>
                <a:gd name="T2" fmla="*/ 0 w 22"/>
                <a:gd name="T3" fmla="*/ 0 h 53"/>
                <a:gd name="T4" fmla="*/ 0 w 22"/>
                <a:gd name="T5" fmla="*/ 10 h 53"/>
                <a:gd name="T6" fmla="*/ 0 w 22"/>
                <a:gd name="T7" fmla="*/ 5 h 5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53"/>
                <a:gd name="T14" fmla="*/ 22 w 22"/>
                <a:gd name="T15" fmla="*/ 53 h 5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53">
                  <a:moveTo>
                    <a:pt x="0" y="25"/>
                  </a:moveTo>
                  <a:lnTo>
                    <a:pt x="9" y="0"/>
                  </a:lnTo>
                  <a:lnTo>
                    <a:pt x="22" y="53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8" name="Freeform 47"/>
            <p:cNvSpPr>
              <a:spLocks noChangeAspect="1"/>
            </p:cNvSpPr>
            <p:nvPr/>
          </p:nvSpPr>
          <p:spPr bwMode="gray">
            <a:xfrm>
              <a:off x="2396155" y="5615485"/>
              <a:ext cx="18377" cy="58067"/>
            </a:xfrm>
            <a:custGeom>
              <a:avLst/>
              <a:gdLst>
                <a:gd name="T0" fmla="*/ 0 w 20"/>
                <a:gd name="T1" fmla="*/ 3 h 70"/>
                <a:gd name="T2" fmla="*/ 15 w 20"/>
                <a:gd name="T3" fmla="*/ 0 h 70"/>
                <a:gd name="T4" fmla="*/ 15 w 20"/>
                <a:gd name="T5" fmla="*/ 3 h 70"/>
                <a:gd name="T6" fmla="*/ 0 w 20"/>
                <a:gd name="T7" fmla="*/ 3 h 7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70"/>
                <a:gd name="T14" fmla="*/ 20 w 20"/>
                <a:gd name="T15" fmla="*/ 70 h 7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70">
                  <a:moveTo>
                    <a:pt x="0" y="59"/>
                  </a:moveTo>
                  <a:lnTo>
                    <a:pt x="20" y="0"/>
                  </a:lnTo>
                  <a:lnTo>
                    <a:pt x="20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49" name="Freeform 48"/>
            <p:cNvSpPr>
              <a:spLocks noChangeAspect="1"/>
            </p:cNvSpPr>
            <p:nvPr/>
          </p:nvSpPr>
          <p:spPr bwMode="gray">
            <a:xfrm>
              <a:off x="2416064" y="6060115"/>
              <a:ext cx="35223" cy="23227"/>
            </a:xfrm>
            <a:custGeom>
              <a:avLst/>
              <a:gdLst>
                <a:gd name="T0" fmla="*/ 0 w 46"/>
                <a:gd name="T1" fmla="*/ 0 h 29"/>
                <a:gd name="T2" fmla="*/ 3 w 46"/>
                <a:gd name="T3" fmla="*/ 0 h 29"/>
                <a:gd name="T4" fmla="*/ 3 w 46"/>
                <a:gd name="T5" fmla="*/ 0 h 29"/>
                <a:gd name="T6" fmla="*/ 0 w 46"/>
                <a:gd name="T7" fmla="*/ 0 h 2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6"/>
                <a:gd name="T13" fmla="*/ 0 h 29"/>
                <a:gd name="T14" fmla="*/ 46 w 46"/>
                <a:gd name="T15" fmla="*/ 29 h 2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6" h="29">
                  <a:moveTo>
                    <a:pt x="0" y="0"/>
                  </a:moveTo>
                  <a:lnTo>
                    <a:pt x="44" y="7"/>
                  </a:lnTo>
                  <a:lnTo>
                    <a:pt x="46" y="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0" name="Freeform 49"/>
            <p:cNvSpPr>
              <a:spLocks noChangeAspect="1"/>
            </p:cNvSpPr>
            <p:nvPr/>
          </p:nvSpPr>
          <p:spPr bwMode="gray">
            <a:xfrm>
              <a:off x="2420658" y="5998729"/>
              <a:ext cx="53601" cy="61385"/>
            </a:xfrm>
            <a:custGeom>
              <a:avLst/>
              <a:gdLst>
                <a:gd name="T0" fmla="*/ 0 w 68"/>
                <a:gd name="T1" fmla="*/ 2 h 69"/>
                <a:gd name="T2" fmla="*/ 2 w 68"/>
                <a:gd name="T3" fmla="*/ 0 h 69"/>
                <a:gd name="T4" fmla="*/ 2 w 68"/>
                <a:gd name="T5" fmla="*/ 4 h 69"/>
                <a:gd name="T6" fmla="*/ 5 w 68"/>
                <a:gd name="T7" fmla="*/ 6 h 69"/>
                <a:gd name="T8" fmla="*/ 3 w 68"/>
                <a:gd name="T9" fmla="*/ 10 h 69"/>
                <a:gd name="T10" fmla="*/ 0 w 68"/>
                <a:gd name="T11" fmla="*/ 2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8"/>
                <a:gd name="T19" fmla="*/ 0 h 69"/>
                <a:gd name="T20" fmla="*/ 68 w 68"/>
                <a:gd name="T21" fmla="*/ 69 h 6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8" h="69">
                  <a:moveTo>
                    <a:pt x="0" y="11"/>
                  </a:moveTo>
                  <a:lnTo>
                    <a:pt x="18" y="0"/>
                  </a:lnTo>
                  <a:lnTo>
                    <a:pt x="17" y="31"/>
                  </a:lnTo>
                  <a:lnTo>
                    <a:pt x="68" y="43"/>
                  </a:lnTo>
                  <a:lnTo>
                    <a:pt x="35" y="69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1" name="Freeform 50"/>
            <p:cNvSpPr>
              <a:spLocks noChangeAspect="1"/>
            </p:cNvSpPr>
            <p:nvPr/>
          </p:nvSpPr>
          <p:spPr bwMode="gray">
            <a:xfrm>
              <a:off x="2457413" y="6078364"/>
              <a:ext cx="29097" cy="14932"/>
            </a:xfrm>
            <a:custGeom>
              <a:avLst/>
              <a:gdLst>
                <a:gd name="T0" fmla="*/ 0 w 38"/>
                <a:gd name="T1" fmla="*/ 2 h 17"/>
                <a:gd name="T2" fmla="*/ 1 w 38"/>
                <a:gd name="T3" fmla="*/ 0 h 17"/>
                <a:gd name="T4" fmla="*/ 2 w 38"/>
                <a:gd name="T5" fmla="*/ 2 h 17"/>
                <a:gd name="T6" fmla="*/ 0 w 38"/>
                <a:gd name="T7" fmla="*/ 2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17"/>
                <a:gd name="T14" fmla="*/ 38 w 38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17">
                  <a:moveTo>
                    <a:pt x="0" y="13"/>
                  </a:moveTo>
                  <a:lnTo>
                    <a:pt x="9" y="0"/>
                  </a:lnTo>
                  <a:lnTo>
                    <a:pt x="38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2" name="Freeform 54"/>
            <p:cNvSpPr>
              <a:spLocks noChangeAspect="1"/>
            </p:cNvSpPr>
            <p:nvPr/>
          </p:nvSpPr>
          <p:spPr bwMode="gray">
            <a:xfrm>
              <a:off x="6100718" y="2521331"/>
              <a:ext cx="1531444" cy="1161345"/>
            </a:xfrm>
            <a:custGeom>
              <a:avLst/>
              <a:gdLst>
                <a:gd name="T0" fmla="*/ 0 w 2124"/>
                <a:gd name="T1" fmla="*/ 57 h 1337"/>
                <a:gd name="T2" fmla="*/ 4 w 2124"/>
                <a:gd name="T3" fmla="*/ 49 h 1337"/>
                <a:gd name="T4" fmla="*/ 4 w 2124"/>
                <a:gd name="T5" fmla="*/ 38 h 1337"/>
                <a:gd name="T6" fmla="*/ 7 w 2124"/>
                <a:gd name="T7" fmla="*/ 28 h 1337"/>
                <a:gd name="T8" fmla="*/ 8 w 2124"/>
                <a:gd name="T9" fmla="*/ 23 h 1337"/>
                <a:gd name="T10" fmla="*/ 10 w 2124"/>
                <a:gd name="T11" fmla="*/ 25 h 1337"/>
                <a:gd name="T12" fmla="*/ 12 w 2124"/>
                <a:gd name="T13" fmla="*/ 36 h 1337"/>
                <a:gd name="T14" fmla="*/ 16 w 2124"/>
                <a:gd name="T15" fmla="*/ 46 h 1337"/>
                <a:gd name="T16" fmla="*/ 21 w 2124"/>
                <a:gd name="T17" fmla="*/ 51 h 1337"/>
                <a:gd name="T18" fmla="*/ 26 w 2124"/>
                <a:gd name="T19" fmla="*/ 42 h 1337"/>
                <a:gd name="T20" fmla="*/ 27 w 2124"/>
                <a:gd name="T21" fmla="*/ 38 h 1337"/>
                <a:gd name="T22" fmla="*/ 31 w 2124"/>
                <a:gd name="T23" fmla="*/ 30 h 1337"/>
                <a:gd name="T24" fmla="*/ 29 w 2124"/>
                <a:gd name="T25" fmla="*/ 26 h 1337"/>
                <a:gd name="T26" fmla="*/ 29 w 2124"/>
                <a:gd name="T27" fmla="*/ 16 h 1337"/>
                <a:gd name="T28" fmla="*/ 31 w 2124"/>
                <a:gd name="T29" fmla="*/ 16 h 1337"/>
                <a:gd name="T30" fmla="*/ 32 w 2124"/>
                <a:gd name="T31" fmla="*/ 4 h 1337"/>
                <a:gd name="T32" fmla="*/ 35 w 2124"/>
                <a:gd name="T33" fmla="*/ 3 h 1337"/>
                <a:gd name="T34" fmla="*/ 39 w 2124"/>
                <a:gd name="T35" fmla="*/ 20 h 1337"/>
                <a:gd name="T36" fmla="*/ 42 w 2124"/>
                <a:gd name="T37" fmla="*/ 22 h 1337"/>
                <a:gd name="T38" fmla="*/ 39 w 2124"/>
                <a:gd name="T39" fmla="*/ 38 h 1337"/>
                <a:gd name="T40" fmla="*/ 39 w 2124"/>
                <a:gd name="T41" fmla="*/ 47 h 1337"/>
                <a:gd name="T42" fmla="*/ 37 w 2124"/>
                <a:gd name="T43" fmla="*/ 49 h 1337"/>
                <a:gd name="T44" fmla="*/ 36 w 2124"/>
                <a:gd name="T45" fmla="*/ 51 h 1337"/>
                <a:gd name="T46" fmla="*/ 32 w 2124"/>
                <a:gd name="T47" fmla="*/ 62 h 1337"/>
                <a:gd name="T48" fmla="*/ 33 w 2124"/>
                <a:gd name="T49" fmla="*/ 53 h 1337"/>
                <a:gd name="T50" fmla="*/ 30 w 2124"/>
                <a:gd name="T51" fmla="*/ 63 h 1337"/>
                <a:gd name="T52" fmla="*/ 32 w 2124"/>
                <a:gd name="T53" fmla="*/ 65 h 1337"/>
                <a:gd name="T54" fmla="*/ 32 w 2124"/>
                <a:gd name="T55" fmla="*/ 71 h 1337"/>
                <a:gd name="T56" fmla="*/ 33 w 2124"/>
                <a:gd name="T57" fmla="*/ 88 h 1337"/>
                <a:gd name="T58" fmla="*/ 33 w 2124"/>
                <a:gd name="T59" fmla="*/ 92 h 1337"/>
                <a:gd name="T60" fmla="*/ 33 w 2124"/>
                <a:gd name="T61" fmla="*/ 95 h 1337"/>
                <a:gd name="T62" fmla="*/ 29 w 2124"/>
                <a:gd name="T63" fmla="*/ 119 h 1337"/>
                <a:gd name="T64" fmla="*/ 27 w 2124"/>
                <a:gd name="T65" fmla="*/ 121 h 1337"/>
                <a:gd name="T66" fmla="*/ 27 w 2124"/>
                <a:gd name="T67" fmla="*/ 124 h 1337"/>
                <a:gd name="T68" fmla="*/ 25 w 2124"/>
                <a:gd name="T69" fmla="*/ 129 h 1337"/>
                <a:gd name="T70" fmla="*/ 23 w 2124"/>
                <a:gd name="T71" fmla="*/ 125 h 1337"/>
                <a:gd name="T72" fmla="*/ 19 w 2124"/>
                <a:gd name="T73" fmla="*/ 121 h 1337"/>
                <a:gd name="T74" fmla="*/ 19 w 2124"/>
                <a:gd name="T75" fmla="*/ 125 h 1337"/>
                <a:gd name="T76" fmla="*/ 17 w 2124"/>
                <a:gd name="T77" fmla="*/ 123 h 1337"/>
                <a:gd name="T78" fmla="*/ 16 w 2124"/>
                <a:gd name="T79" fmla="*/ 117 h 1337"/>
                <a:gd name="T80" fmla="*/ 17 w 2124"/>
                <a:gd name="T81" fmla="*/ 103 h 1337"/>
                <a:gd name="T82" fmla="*/ 16 w 2124"/>
                <a:gd name="T83" fmla="*/ 100 h 1337"/>
                <a:gd name="T84" fmla="*/ 12 w 2124"/>
                <a:gd name="T85" fmla="*/ 103 h 1337"/>
                <a:gd name="T86" fmla="*/ 10 w 2124"/>
                <a:gd name="T87" fmla="*/ 104 h 1337"/>
                <a:gd name="T88" fmla="*/ 10 w 2124"/>
                <a:gd name="T89" fmla="*/ 102 h 1337"/>
                <a:gd name="T90" fmla="*/ 7 w 2124"/>
                <a:gd name="T91" fmla="*/ 97 h 1337"/>
                <a:gd name="T92" fmla="*/ 4 w 2124"/>
                <a:gd name="T93" fmla="*/ 91 h 1337"/>
                <a:gd name="T94" fmla="*/ 4 w 2124"/>
                <a:gd name="T95" fmla="*/ 85 h 1337"/>
                <a:gd name="T96" fmla="*/ 4 w 2124"/>
                <a:gd name="T97" fmla="*/ 74 h 1337"/>
                <a:gd name="T98" fmla="*/ 3 w 2124"/>
                <a:gd name="T99" fmla="*/ 74 h 1337"/>
                <a:gd name="T100" fmla="*/ 0 w 2124"/>
                <a:gd name="T101" fmla="*/ 68 h 1337"/>
                <a:gd name="T102" fmla="*/ 0 w 2124"/>
                <a:gd name="T103" fmla="*/ 61 h 133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24"/>
                <a:gd name="T157" fmla="*/ 0 h 1337"/>
                <a:gd name="T158" fmla="*/ 2124 w 2124"/>
                <a:gd name="T159" fmla="*/ 1337 h 133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24" h="1337">
                  <a:moveTo>
                    <a:pt x="0" y="636"/>
                  </a:moveTo>
                  <a:lnTo>
                    <a:pt x="12" y="585"/>
                  </a:lnTo>
                  <a:lnTo>
                    <a:pt x="89" y="574"/>
                  </a:lnTo>
                  <a:lnTo>
                    <a:pt x="223" y="503"/>
                  </a:lnTo>
                  <a:lnTo>
                    <a:pt x="243" y="449"/>
                  </a:lnTo>
                  <a:lnTo>
                    <a:pt x="216" y="387"/>
                  </a:lnTo>
                  <a:lnTo>
                    <a:pt x="300" y="369"/>
                  </a:lnTo>
                  <a:lnTo>
                    <a:pt x="324" y="285"/>
                  </a:lnTo>
                  <a:lnTo>
                    <a:pt x="412" y="289"/>
                  </a:lnTo>
                  <a:lnTo>
                    <a:pt x="422" y="235"/>
                  </a:lnTo>
                  <a:lnTo>
                    <a:pt x="489" y="206"/>
                  </a:lnTo>
                  <a:lnTo>
                    <a:pt x="525" y="253"/>
                  </a:lnTo>
                  <a:lnTo>
                    <a:pt x="573" y="270"/>
                  </a:lnTo>
                  <a:lnTo>
                    <a:pt x="594" y="369"/>
                  </a:lnTo>
                  <a:lnTo>
                    <a:pt x="747" y="407"/>
                  </a:lnTo>
                  <a:lnTo>
                    <a:pt x="810" y="475"/>
                  </a:lnTo>
                  <a:lnTo>
                    <a:pt x="936" y="471"/>
                  </a:lnTo>
                  <a:lnTo>
                    <a:pt x="1080" y="524"/>
                  </a:lnTo>
                  <a:lnTo>
                    <a:pt x="1269" y="475"/>
                  </a:lnTo>
                  <a:lnTo>
                    <a:pt x="1328" y="437"/>
                  </a:lnTo>
                  <a:lnTo>
                    <a:pt x="1328" y="383"/>
                  </a:lnTo>
                  <a:lnTo>
                    <a:pt x="1380" y="389"/>
                  </a:lnTo>
                  <a:lnTo>
                    <a:pt x="1497" y="312"/>
                  </a:lnTo>
                  <a:lnTo>
                    <a:pt x="1590" y="307"/>
                  </a:lnTo>
                  <a:lnTo>
                    <a:pt x="1546" y="248"/>
                  </a:lnTo>
                  <a:lnTo>
                    <a:pt x="1456" y="264"/>
                  </a:lnTo>
                  <a:lnTo>
                    <a:pt x="1455" y="199"/>
                  </a:lnTo>
                  <a:lnTo>
                    <a:pt x="1478" y="163"/>
                  </a:lnTo>
                  <a:lnTo>
                    <a:pt x="1531" y="184"/>
                  </a:lnTo>
                  <a:lnTo>
                    <a:pt x="1581" y="160"/>
                  </a:lnTo>
                  <a:lnTo>
                    <a:pt x="1632" y="72"/>
                  </a:lnTo>
                  <a:lnTo>
                    <a:pt x="1608" y="41"/>
                  </a:lnTo>
                  <a:lnTo>
                    <a:pt x="1734" y="0"/>
                  </a:lnTo>
                  <a:lnTo>
                    <a:pt x="1804" y="27"/>
                  </a:lnTo>
                  <a:lnTo>
                    <a:pt x="1868" y="176"/>
                  </a:lnTo>
                  <a:lnTo>
                    <a:pt x="1974" y="209"/>
                  </a:lnTo>
                  <a:lnTo>
                    <a:pt x="1994" y="263"/>
                  </a:lnTo>
                  <a:lnTo>
                    <a:pt x="2124" y="229"/>
                  </a:lnTo>
                  <a:lnTo>
                    <a:pt x="2064" y="373"/>
                  </a:lnTo>
                  <a:lnTo>
                    <a:pt x="1988" y="395"/>
                  </a:lnTo>
                  <a:lnTo>
                    <a:pt x="1998" y="449"/>
                  </a:lnTo>
                  <a:lnTo>
                    <a:pt x="1974" y="482"/>
                  </a:lnTo>
                  <a:lnTo>
                    <a:pt x="1960" y="471"/>
                  </a:lnTo>
                  <a:lnTo>
                    <a:pt x="1894" y="510"/>
                  </a:lnTo>
                  <a:lnTo>
                    <a:pt x="1894" y="533"/>
                  </a:lnTo>
                  <a:lnTo>
                    <a:pt x="1846" y="526"/>
                  </a:lnTo>
                  <a:lnTo>
                    <a:pt x="1758" y="591"/>
                  </a:lnTo>
                  <a:lnTo>
                    <a:pt x="1656" y="642"/>
                  </a:lnTo>
                  <a:lnTo>
                    <a:pt x="1686" y="574"/>
                  </a:lnTo>
                  <a:lnTo>
                    <a:pt x="1672" y="549"/>
                  </a:lnTo>
                  <a:lnTo>
                    <a:pt x="1531" y="628"/>
                  </a:lnTo>
                  <a:lnTo>
                    <a:pt x="1527" y="650"/>
                  </a:lnTo>
                  <a:lnTo>
                    <a:pt x="1574" y="701"/>
                  </a:lnTo>
                  <a:lnTo>
                    <a:pt x="1635" y="679"/>
                  </a:lnTo>
                  <a:lnTo>
                    <a:pt x="1700" y="697"/>
                  </a:lnTo>
                  <a:lnTo>
                    <a:pt x="1614" y="738"/>
                  </a:lnTo>
                  <a:lnTo>
                    <a:pt x="1582" y="794"/>
                  </a:lnTo>
                  <a:lnTo>
                    <a:pt x="1674" y="915"/>
                  </a:lnTo>
                  <a:lnTo>
                    <a:pt x="1612" y="904"/>
                  </a:lnTo>
                  <a:lnTo>
                    <a:pt x="1674" y="945"/>
                  </a:lnTo>
                  <a:lnTo>
                    <a:pt x="1613" y="972"/>
                  </a:lnTo>
                  <a:lnTo>
                    <a:pt x="1676" y="983"/>
                  </a:lnTo>
                  <a:lnTo>
                    <a:pt x="1559" y="1178"/>
                  </a:lnTo>
                  <a:lnTo>
                    <a:pt x="1481" y="1235"/>
                  </a:lnTo>
                  <a:lnTo>
                    <a:pt x="1405" y="1254"/>
                  </a:lnTo>
                  <a:lnTo>
                    <a:pt x="1400" y="1255"/>
                  </a:lnTo>
                  <a:lnTo>
                    <a:pt x="1380" y="1244"/>
                  </a:lnTo>
                  <a:lnTo>
                    <a:pt x="1361" y="1277"/>
                  </a:lnTo>
                  <a:lnTo>
                    <a:pt x="1270" y="1296"/>
                  </a:lnTo>
                  <a:lnTo>
                    <a:pt x="1264" y="1337"/>
                  </a:lnTo>
                  <a:lnTo>
                    <a:pt x="1248" y="1288"/>
                  </a:lnTo>
                  <a:lnTo>
                    <a:pt x="1187" y="1290"/>
                  </a:lnTo>
                  <a:lnTo>
                    <a:pt x="1092" y="1230"/>
                  </a:lnTo>
                  <a:lnTo>
                    <a:pt x="989" y="1256"/>
                  </a:lnTo>
                  <a:lnTo>
                    <a:pt x="968" y="1257"/>
                  </a:lnTo>
                  <a:lnTo>
                    <a:pt x="971" y="1296"/>
                  </a:lnTo>
                  <a:lnTo>
                    <a:pt x="955" y="1287"/>
                  </a:lnTo>
                  <a:lnTo>
                    <a:pt x="889" y="1268"/>
                  </a:lnTo>
                  <a:lnTo>
                    <a:pt x="869" y="1197"/>
                  </a:lnTo>
                  <a:lnTo>
                    <a:pt x="829" y="1206"/>
                  </a:lnTo>
                  <a:lnTo>
                    <a:pt x="867" y="1103"/>
                  </a:lnTo>
                  <a:lnTo>
                    <a:pt x="866" y="1070"/>
                  </a:lnTo>
                  <a:lnTo>
                    <a:pt x="823" y="1049"/>
                  </a:lnTo>
                  <a:lnTo>
                    <a:pt x="786" y="1035"/>
                  </a:lnTo>
                  <a:lnTo>
                    <a:pt x="775" y="998"/>
                  </a:lnTo>
                  <a:lnTo>
                    <a:pt x="626" y="1060"/>
                  </a:lnTo>
                  <a:lnTo>
                    <a:pt x="561" y="1043"/>
                  </a:lnTo>
                  <a:lnTo>
                    <a:pt x="527" y="1079"/>
                  </a:lnTo>
                  <a:lnTo>
                    <a:pt x="522" y="1053"/>
                  </a:lnTo>
                  <a:lnTo>
                    <a:pt x="499" y="1059"/>
                  </a:lnTo>
                  <a:lnTo>
                    <a:pt x="424" y="1059"/>
                  </a:lnTo>
                  <a:lnTo>
                    <a:pt x="365" y="1005"/>
                  </a:lnTo>
                  <a:lnTo>
                    <a:pt x="255" y="969"/>
                  </a:lnTo>
                  <a:lnTo>
                    <a:pt x="183" y="943"/>
                  </a:lnTo>
                  <a:lnTo>
                    <a:pt x="166" y="883"/>
                  </a:lnTo>
                  <a:lnTo>
                    <a:pt x="204" y="876"/>
                  </a:lnTo>
                  <a:lnTo>
                    <a:pt x="181" y="828"/>
                  </a:lnTo>
                  <a:lnTo>
                    <a:pt x="230" y="769"/>
                  </a:lnTo>
                  <a:lnTo>
                    <a:pt x="192" y="749"/>
                  </a:lnTo>
                  <a:lnTo>
                    <a:pt x="138" y="771"/>
                  </a:lnTo>
                  <a:lnTo>
                    <a:pt x="31" y="706"/>
                  </a:lnTo>
                  <a:lnTo>
                    <a:pt x="35" y="697"/>
                  </a:lnTo>
                  <a:lnTo>
                    <a:pt x="36" y="651"/>
                  </a:lnTo>
                  <a:lnTo>
                    <a:pt x="0" y="63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3" name="Freeform 55"/>
            <p:cNvSpPr>
              <a:spLocks noChangeAspect="1"/>
            </p:cNvSpPr>
            <p:nvPr/>
          </p:nvSpPr>
          <p:spPr bwMode="gray">
            <a:xfrm>
              <a:off x="6976704" y="3690971"/>
              <a:ext cx="53601" cy="51431"/>
            </a:xfrm>
            <a:custGeom>
              <a:avLst/>
              <a:gdLst>
                <a:gd name="T0" fmla="*/ 0 w 75"/>
                <a:gd name="T1" fmla="*/ 1 h 64"/>
                <a:gd name="T2" fmla="*/ 0 w 75"/>
                <a:gd name="T3" fmla="*/ 0 h 64"/>
                <a:gd name="T4" fmla="*/ 1 w 75"/>
                <a:gd name="T5" fmla="*/ 0 h 64"/>
                <a:gd name="T6" fmla="*/ 0 w 75"/>
                <a:gd name="T7" fmla="*/ 2 h 64"/>
                <a:gd name="T8" fmla="*/ 0 w 75"/>
                <a:gd name="T9" fmla="*/ 1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5"/>
                <a:gd name="T16" fmla="*/ 0 h 64"/>
                <a:gd name="T17" fmla="*/ 75 w 75"/>
                <a:gd name="T18" fmla="*/ 64 h 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5" h="64">
                  <a:moveTo>
                    <a:pt x="0" y="51"/>
                  </a:moveTo>
                  <a:lnTo>
                    <a:pt x="24" y="0"/>
                  </a:lnTo>
                  <a:lnTo>
                    <a:pt x="75" y="11"/>
                  </a:lnTo>
                  <a:lnTo>
                    <a:pt x="34" y="64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4" name="Freeform 56"/>
            <p:cNvSpPr>
              <a:spLocks noChangeAspect="1"/>
            </p:cNvSpPr>
            <p:nvPr/>
          </p:nvSpPr>
          <p:spPr bwMode="gray">
            <a:xfrm>
              <a:off x="7261553" y="3531701"/>
              <a:ext cx="45943" cy="97885"/>
            </a:xfrm>
            <a:custGeom>
              <a:avLst/>
              <a:gdLst>
                <a:gd name="T0" fmla="*/ 0 w 63"/>
                <a:gd name="T1" fmla="*/ 4 h 114"/>
                <a:gd name="T2" fmla="*/ 0 w 63"/>
                <a:gd name="T3" fmla="*/ 9 h 114"/>
                <a:gd name="T4" fmla="*/ 1 w 63"/>
                <a:gd name="T5" fmla="*/ 0 h 114"/>
                <a:gd name="T6" fmla="*/ 0 w 63"/>
                <a:gd name="T7" fmla="*/ 1 h 114"/>
                <a:gd name="T8" fmla="*/ 0 w 63"/>
                <a:gd name="T9" fmla="*/ 4 h 1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3"/>
                <a:gd name="T16" fmla="*/ 0 h 114"/>
                <a:gd name="T17" fmla="*/ 63 w 63"/>
                <a:gd name="T18" fmla="*/ 114 h 1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3" h="114">
                  <a:moveTo>
                    <a:pt x="0" y="47"/>
                  </a:moveTo>
                  <a:lnTo>
                    <a:pt x="25" y="114"/>
                  </a:lnTo>
                  <a:lnTo>
                    <a:pt x="63" y="0"/>
                  </a:lnTo>
                  <a:lnTo>
                    <a:pt x="30" y="1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5" name="Freeform 57"/>
            <p:cNvSpPr>
              <a:spLocks noChangeAspect="1"/>
            </p:cNvSpPr>
            <p:nvPr/>
          </p:nvSpPr>
          <p:spPr bwMode="gray">
            <a:xfrm>
              <a:off x="2284360" y="3921581"/>
              <a:ext cx="304757" cy="499378"/>
            </a:xfrm>
            <a:custGeom>
              <a:avLst/>
              <a:gdLst>
                <a:gd name="T0" fmla="*/ 0 w 415"/>
                <a:gd name="T1" fmla="*/ 40 h 572"/>
                <a:gd name="T2" fmla="*/ 1 w 415"/>
                <a:gd name="T3" fmla="*/ 44 h 572"/>
                <a:gd name="T4" fmla="*/ 3 w 415"/>
                <a:gd name="T5" fmla="*/ 45 h 572"/>
                <a:gd name="T6" fmla="*/ 5 w 415"/>
                <a:gd name="T7" fmla="*/ 53 h 572"/>
                <a:gd name="T8" fmla="*/ 8 w 415"/>
                <a:gd name="T9" fmla="*/ 54 h 572"/>
                <a:gd name="T10" fmla="*/ 7 w 415"/>
                <a:gd name="T11" fmla="*/ 58 h 572"/>
                <a:gd name="T12" fmla="*/ 8 w 415"/>
                <a:gd name="T13" fmla="*/ 59 h 572"/>
                <a:gd name="T14" fmla="*/ 8 w 415"/>
                <a:gd name="T15" fmla="*/ 49 h 572"/>
                <a:gd name="T16" fmla="*/ 8 w 415"/>
                <a:gd name="T17" fmla="*/ 43 h 572"/>
                <a:gd name="T18" fmla="*/ 9 w 415"/>
                <a:gd name="T19" fmla="*/ 43 h 572"/>
                <a:gd name="T20" fmla="*/ 8 w 415"/>
                <a:gd name="T21" fmla="*/ 39 h 572"/>
                <a:gd name="T22" fmla="*/ 11 w 415"/>
                <a:gd name="T23" fmla="*/ 37 h 572"/>
                <a:gd name="T24" fmla="*/ 11 w 415"/>
                <a:gd name="T25" fmla="*/ 40 h 572"/>
                <a:gd name="T26" fmla="*/ 10 w 415"/>
                <a:gd name="T27" fmla="*/ 35 h 572"/>
                <a:gd name="T28" fmla="*/ 11 w 415"/>
                <a:gd name="T29" fmla="*/ 23 h 572"/>
                <a:gd name="T30" fmla="*/ 9 w 415"/>
                <a:gd name="T31" fmla="*/ 23 h 572"/>
                <a:gd name="T32" fmla="*/ 8 w 415"/>
                <a:gd name="T33" fmla="*/ 19 h 572"/>
                <a:gd name="T34" fmla="*/ 6 w 415"/>
                <a:gd name="T35" fmla="*/ 19 h 572"/>
                <a:gd name="T36" fmla="*/ 5 w 415"/>
                <a:gd name="T37" fmla="*/ 12 h 572"/>
                <a:gd name="T38" fmla="*/ 7 w 415"/>
                <a:gd name="T39" fmla="*/ 2 h 572"/>
                <a:gd name="T40" fmla="*/ 6 w 415"/>
                <a:gd name="T41" fmla="*/ 0 h 572"/>
                <a:gd name="T42" fmla="*/ 3 w 415"/>
                <a:gd name="T43" fmla="*/ 5 h 572"/>
                <a:gd name="T44" fmla="*/ 2 w 415"/>
                <a:gd name="T45" fmla="*/ 16 h 572"/>
                <a:gd name="T46" fmla="*/ 1 w 415"/>
                <a:gd name="T47" fmla="*/ 13 h 572"/>
                <a:gd name="T48" fmla="*/ 1 w 415"/>
                <a:gd name="T49" fmla="*/ 18 h 572"/>
                <a:gd name="T50" fmla="*/ 1 w 415"/>
                <a:gd name="T51" fmla="*/ 31 h 572"/>
                <a:gd name="T52" fmla="*/ 1 w 415"/>
                <a:gd name="T53" fmla="*/ 31 h 572"/>
                <a:gd name="T54" fmla="*/ 0 w 415"/>
                <a:gd name="T55" fmla="*/ 40 h 57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15"/>
                <a:gd name="T85" fmla="*/ 0 h 572"/>
                <a:gd name="T86" fmla="*/ 415 w 415"/>
                <a:gd name="T87" fmla="*/ 572 h 57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15" h="572">
                  <a:moveTo>
                    <a:pt x="0" y="381"/>
                  </a:moveTo>
                  <a:lnTo>
                    <a:pt x="51" y="422"/>
                  </a:lnTo>
                  <a:lnTo>
                    <a:pt x="124" y="433"/>
                  </a:lnTo>
                  <a:lnTo>
                    <a:pt x="200" y="510"/>
                  </a:lnTo>
                  <a:lnTo>
                    <a:pt x="299" y="517"/>
                  </a:lnTo>
                  <a:lnTo>
                    <a:pt x="285" y="557"/>
                  </a:lnTo>
                  <a:lnTo>
                    <a:pt x="309" y="572"/>
                  </a:lnTo>
                  <a:lnTo>
                    <a:pt x="325" y="472"/>
                  </a:lnTo>
                  <a:lnTo>
                    <a:pt x="305" y="411"/>
                  </a:lnTo>
                  <a:lnTo>
                    <a:pt x="338" y="408"/>
                  </a:lnTo>
                  <a:lnTo>
                    <a:pt x="313" y="373"/>
                  </a:lnTo>
                  <a:lnTo>
                    <a:pt x="396" y="359"/>
                  </a:lnTo>
                  <a:lnTo>
                    <a:pt x="415" y="384"/>
                  </a:lnTo>
                  <a:lnTo>
                    <a:pt x="385" y="334"/>
                  </a:lnTo>
                  <a:lnTo>
                    <a:pt x="395" y="214"/>
                  </a:lnTo>
                  <a:lnTo>
                    <a:pt x="327" y="217"/>
                  </a:lnTo>
                  <a:lnTo>
                    <a:pt x="305" y="189"/>
                  </a:lnTo>
                  <a:lnTo>
                    <a:pt x="237" y="181"/>
                  </a:lnTo>
                  <a:lnTo>
                    <a:pt x="194" y="112"/>
                  </a:lnTo>
                  <a:lnTo>
                    <a:pt x="260" y="20"/>
                  </a:lnTo>
                  <a:lnTo>
                    <a:pt x="252" y="0"/>
                  </a:lnTo>
                  <a:lnTo>
                    <a:pt x="134" y="49"/>
                  </a:lnTo>
                  <a:lnTo>
                    <a:pt x="71" y="153"/>
                  </a:lnTo>
                  <a:lnTo>
                    <a:pt x="50" y="128"/>
                  </a:lnTo>
                  <a:lnTo>
                    <a:pt x="33" y="178"/>
                  </a:lnTo>
                  <a:lnTo>
                    <a:pt x="50" y="292"/>
                  </a:lnTo>
                  <a:lnTo>
                    <a:pt x="64" y="292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6" name="Freeform 58"/>
            <p:cNvSpPr>
              <a:spLocks noChangeAspect="1"/>
            </p:cNvSpPr>
            <p:nvPr/>
          </p:nvSpPr>
          <p:spPr bwMode="gray">
            <a:xfrm>
              <a:off x="2118964" y="3964716"/>
              <a:ext cx="75041" cy="82953"/>
            </a:xfrm>
            <a:custGeom>
              <a:avLst/>
              <a:gdLst>
                <a:gd name="T0" fmla="*/ 0 w 109"/>
                <a:gd name="T1" fmla="*/ 0 h 93"/>
                <a:gd name="T2" fmla="*/ 0 w 109"/>
                <a:gd name="T3" fmla="*/ 5 h 93"/>
                <a:gd name="T4" fmla="*/ 0 w 109"/>
                <a:gd name="T5" fmla="*/ 4 h 93"/>
                <a:gd name="T6" fmla="*/ 1 w 109"/>
                <a:gd name="T7" fmla="*/ 13 h 93"/>
                <a:gd name="T8" fmla="*/ 1 w 109"/>
                <a:gd name="T9" fmla="*/ 7 h 93"/>
                <a:gd name="T10" fmla="*/ 1 w 109"/>
                <a:gd name="T11" fmla="*/ 1 h 93"/>
                <a:gd name="T12" fmla="*/ 0 w 109"/>
                <a:gd name="T13" fmla="*/ 0 h 9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9"/>
                <a:gd name="T22" fmla="*/ 0 h 93"/>
                <a:gd name="T23" fmla="*/ 109 w 109"/>
                <a:gd name="T24" fmla="*/ 93 h 9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9" h="93">
                  <a:moveTo>
                    <a:pt x="0" y="0"/>
                  </a:moveTo>
                  <a:lnTo>
                    <a:pt x="1" y="37"/>
                  </a:lnTo>
                  <a:lnTo>
                    <a:pt x="25" y="31"/>
                  </a:lnTo>
                  <a:lnTo>
                    <a:pt x="93" y="93"/>
                  </a:lnTo>
                  <a:lnTo>
                    <a:pt x="109" y="47"/>
                  </a:lnTo>
                  <a:lnTo>
                    <a:pt x="72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7" name="Freeform 59"/>
            <p:cNvSpPr>
              <a:spLocks noChangeAspect="1"/>
            </p:cNvSpPr>
            <p:nvPr/>
          </p:nvSpPr>
          <p:spPr bwMode="gray">
            <a:xfrm>
              <a:off x="2135810" y="3594745"/>
              <a:ext cx="268003" cy="97885"/>
            </a:xfrm>
            <a:custGeom>
              <a:avLst/>
              <a:gdLst>
                <a:gd name="T0" fmla="*/ 0 w 373"/>
                <a:gd name="T1" fmla="*/ 3 h 116"/>
                <a:gd name="T2" fmla="*/ 1 w 373"/>
                <a:gd name="T3" fmla="*/ 1 h 116"/>
                <a:gd name="T4" fmla="*/ 3 w 373"/>
                <a:gd name="T5" fmla="*/ 0 h 116"/>
                <a:gd name="T6" fmla="*/ 7 w 373"/>
                <a:gd name="T7" fmla="*/ 6 h 116"/>
                <a:gd name="T8" fmla="*/ 5 w 373"/>
                <a:gd name="T9" fmla="*/ 7 h 116"/>
                <a:gd name="T10" fmla="*/ 5 w 373"/>
                <a:gd name="T11" fmla="*/ 6 h 116"/>
                <a:gd name="T12" fmla="*/ 4 w 373"/>
                <a:gd name="T13" fmla="*/ 4 h 116"/>
                <a:gd name="T14" fmla="*/ 2 w 373"/>
                <a:gd name="T15" fmla="*/ 3 h 116"/>
                <a:gd name="T16" fmla="*/ 2 w 373"/>
                <a:gd name="T17" fmla="*/ 2 h 116"/>
                <a:gd name="T18" fmla="*/ 0 w 373"/>
                <a:gd name="T19" fmla="*/ 3 h 1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3"/>
                <a:gd name="T31" fmla="*/ 0 h 116"/>
                <a:gd name="T32" fmla="*/ 373 w 373"/>
                <a:gd name="T33" fmla="*/ 116 h 1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3" h="116">
                  <a:moveTo>
                    <a:pt x="0" y="45"/>
                  </a:moveTo>
                  <a:lnTo>
                    <a:pt x="50" y="5"/>
                  </a:lnTo>
                  <a:lnTo>
                    <a:pt x="145" y="0"/>
                  </a:lnTo>
                  <a:lnTo>
                    <a:pt x="373" y="99"/>
                  </a:lnTo>
                  <a:lnTo>
                    <a:pt x="252" y="116"/>
                  </a:lnTo>
                  <a:lnTo>
                    <a:pt x="273" y="94"/>
                  </a:lnTo>
                  <a:lnTo>
                    <a:pt x="215" y="56"/>
                  </a:lnTo>
                  <a:lnTo>
                    <a:pt x="101" y="36"/>
                  </a:lnTo>
                  <a:lnTo>
                    <a:pt x="107" y="18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8" name="Freeform 60"/>
            <p:cNvSpPr>
              <a:spLocks noChangeAspect="1"/>
            </p:cNvSpPr>
            <p:nvPr/>
          </p:nvSpPr>
          <p:spPr bwMode="gray">
            <a:xfrm>
              <a:off x="4557023" y="2617556"/>
              <a:ext cx="261877" cy="132725"/>
            </a:xfrm>
            <a:custGeom>
              <a:avLst/>
              <a:gdLst>
                <a:gd name="T0" fmla="*/ 0 w 365"/>
                <a:gd name="T1" fmla="*/ 4 h 151"/>
                <a:gd name="T2" fmla="*/ 1 w 365"/>
                <a:gd name="T3" fmla="*/ 12 h 151"/>
                <a:gd name="T4" fmla="*/ 3 w 365"/>
                <a:gd name="T5" fmla="*/ 12 h 151"/>
                <a:gd name="T6" fmla="*/ 3 w 365"/>
                <a:gd name="T7" fmla="*/ 16 h 151"/>
                <a:gd name="T8" fmla="*/ 4 w 365"/>
                <a:gd name="T9" fmla="*/ 17 h 151"/>
                <a:gd name="T10" fmla="*/ 6 w 365"/>
                <a:gd name="T11" fmla="*/ 13 h 151"/>
                <a:gd name="T12" fmla="*/ 7 w 365"/>
                <a:gd name="T13" fmla="*/ 14 h 151"/>
                <a:gd name="T14" fmla="*/ 7 w 365"/>
                <a:gd name="T15" fmla="*/ 11 h 151"/>
                <a:gd name="T16" fmla="*/ 5 w 365"/>
                <a:gd name="T17" fmla="*/ 10 h 151"/>
                <a:gd name="T18" fmla="*/ 2 w 365"/>
                <a:gd name="T19" fmla="*/ 2 h 151"/>
                <a:gd name="T20" fmla="*/ 1 w 365"/>
                <a:gd name="T21" fmla="*/ 0 h 151"/>
                <a:gd name="T22" fmla="*/ 0 w 365"/>
                <a:gd name="T23" fmla="*/ 4 h 1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65"/>
                <a:gd name="T37" fmla="*/ 0 h 151"/>
                <a:gd name="T38" fmla="*/ 365 w 365"/>
                <a:gd name="T39" fmla="*/ 151 h 15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65" h="151">
                  <a:moveTo>
                    <a:pt x="0" y="37"/>
                  </a:moveTo>
                  <a:lnTo>
                    <a:pt x="63" y="107"/>
                  </a:lnTo>
                  <a:lnTo>
                    <a:pt x="165" y="104"/>
                  </a:lnTo>
                  <a:lnTo>
                    <a:pt x="180" y="136"/>
                  </a:lnTo>
                  <a:lnTo>
                    <a:pt x="227" y="151"/>
                  </a:lnTo>
                  <a:lnTo>
                    <a:pt x="307" y="116"/>
                  </a:lnTo>
                  <a:lnTo>
                    <a:pt x="354" y="124"/>
                  </a:lnTo>
                  <a:lnTo>
                    <a:pt x="365" y="92"/>
                  </a:lnTo>
                  <a:lnTo>
                    <a:pt x="277" y="83"/>
                  </a:lnTo>
                  <a:lnTo>
                    <a:pt x="96" y="15"/>
                  </a:lnTo>
                  <a:lnTo>
                    <a:pt x="77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59" name="Freeform 61"/>
            <p:cNvSpPr>
              <a:spLocks noChangeAspect="1"/>
            </p:cNvSpPr>
            <p:nvPr/>
          </p:nvSpPr>
          <p:spPr bwMode="gray">
            <a:xfrm>
              <a:off x="4462073" y="2348788"/>
              <a:ext cx="65852" cy="117794"/>
            </a:xfrm>
            <a:custGeom>
              <a:avLst/>
              <a:gdLst>
                <a:gd name="T0" fmla="*/ 0 w 92"/>
                <a:gd name="T1" fmla="*/ 7 h 139"/>
                <a:gd name="T2" fmla="*/ 0 w 92"/>
                <a:gd name="T3" fmla="*/ 3 h 139"/>
                <a:gd name="T4" fmla="*/ 1 w 92"/>
                <a:gd name="T5" fmla="*/ 0 h 139"/>
                <a:gd name="T6" fmla="*/ 1 w 92"/>
                <a:gd name="T7" fmla="*/ 4 h 139"/>
                <a:gd name="T8" fmla="*/ 1 w 92"/>
                <a:gd name="T9" fmla="*/ 5 h 139"/>
                <a:gd name="T10" fmla="*/ 1 w 92"/>
                <a:gd name="T11" fmla="*/ 7 h 139"/>
                <a:gd name="T12" fmla="*/ 1 w 92"/>
                <a:gd name="T13" fmla="*/ 9 h 139"/>
                <a:gd name="T14" fmla="*/ 0 w 92"/>
                <a:gd name="T15" fmla="*/ 9 h 139"/>
                <a:gd name="T16" fmla="*/ 0 w 92"/>
                <a:gd name="T17" fmla="*/ 7 h 1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2"/>
                <a:gd name="T28" fmla="*/ 0 h 139"/>
                <a:gd name="T29" fmla="*/ 92 w 92"/>
                <a:gd name="T30" fmla="*/ 139 h 13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2" h="139">
                  <a:moveTo>
                    <a:pt x="0" y="106"/>
                  </a:moveTo>
                  <a:lnTo>
                    <a:pt x="7" y="38"/>
                  </a:lnTo>
                  <a:lnTo>
                    <a:pt x="80" y="0"/>
                  </a:lnTo>
                  <a:lnTo>
                    <a:pt x="66" y="54"/>
                  </a:lnTo>
                  <a:lnTo>
                    <a:pt x="92" y="69"/>
                  </a:lnTo>
                  <a:lnTo>
                    <a:pt x="47" y="99"/>
                  </a:lnTo>
                  <a:lnTo>
                    <a:pt x="46" y="139"/>
                  </a:lnTo>
                  <a:lnTo>
                    <a:pt x="18" y="139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0" name="Freeform 62"/>
            <p:cNvSpPr>
              <a:spLocks noChangeAspect="1"/>
            </p:cNvSpPr>
            <p:nvPr/>
          </p:nvSpPr>
          <p:spPr bwMode="gray">
            <a:xfrm>
              <a:off x="4537114" y="2413491"/>
              <a:ext cx="38286" cy="48113"/>
            </a:xfrm>
            <a:custGeom>
              <a:avLst/>
              <a:gdLst>
                <a:gd name="T0" fmla="*/ 0 w 55"/>
                <a:gd name="T1" fmla="*/ 2 h 58"/>
                <a:gd name="T2" fmla="*/ 0 w 55"/>
                <a:gd name="T3" fmla="*/ 3 h 58"/>
                <a:gd name="T4" fmla="*/ 0 w 55"/>
                <a:gd name="T5" fmla="*/ 2 h 58"/>
                <a:gd name="T6" fmla="*/ 0 w 55"/>
                <a:gd name="T7" fmla="*/ 0 h 58"/>
                <a:gd name="T8" fmla="*/ 0 w 55"/>
                <a:gd name="T9" fmla="*/ 2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"/>
                <a:gd name="T16" fmla="*/ 0 h 58"/>
                <a:gd name="T17" fmla="*/ 55 w 55"/>
                <a:gd name="T18" fmla="*/ 58 h 5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" h="58">
                  <a:moveTo>
                    <a:pt x="0" y="29"/>
                  </a:moveTo>
                  <a:lnTo>
                    <a:pt x="41" y="58"/>
                  </a:lnTo>
                  <a:lnTo>
                    <a:pt x="55" y="28"/>
                  </a:lnTo>
                  <a:lnTo>
                    <a:pt x="45" y="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1" name="Freeform 63"/>
            <p:cNvSpPr>
              <a:spLocks noChangeAspect="1"/>
            </p:cNvSpPr>
            <p:nvPr/>
          </p:nvSpPr>
          <p:spPr bwMode="gray">
            <a:xfrm>
              <a:off x="2460476" y="3692630"/>
              <a:ext cx="82698" cy="56408"/>
            </a:xfrm>
            <a:custGeom>
              <a:avLst/>
              <a:gdLst>
                <a:gd name="T0" fmla="*/ 0 w 117"/>
                <a:gd name="T1" fmla="*/ 0 h 66"/>
                <a:gd name="T2" fmla="*/ 0 w 117"/>
                <a:gd name="T3" fmla="*/ 5 h 66"/>
                <a:gd name="T4" fmla="*/ 2 w 117"/>
                <a:gd name="T5" fmla="*/ 4 h 66"/>
                <a:gd name="T6" fmla="*/ 1 w 117"/>
                <a:gd name="T7" fmla="*/ 1 h 66"/>
                <a:gd name="T8" fmla="*/ 0 w 117"/>
                <a:gd name="T9" fmla="*/ 0 h 6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7"/>
                <a:gd name="T16" fmla="*/ 0 h 66"/>
                <a:gd name="T17" fmla="*/ 117 w 117"/>
                <a:gd name="T18" fmla="*/ 66 h 6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7" h="66">
                  <a:moveTo>
                    <a:pt x="0" y="0"/>
                  </a:moveTo>
                  <a:lnTo>
                    <a:pt x="0" y="66"/>
                  </a:lnTo>
                  <a:lnTo>
                    <a:pt x="117" y="46"/>
                  </a:lnTo>
                  <a:lnTo>
                    <a:pt x="66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2" name="Freeform 64"/>
            <p:cNvSpPr>
              <a:spLocks noChangeAspect="1"/>
            </p:cNvSpPr>
            <p:nvPr/>
          </p:nvSpPr>
          <p:spPr bwMode="gray">
            <a:xfrm>
              <a:off x="2236885" y="4251735"/>
              <a:ext cx="142424" cy="187474"/>
            </a:xfrm>
            <a:custGeom>
              <a:avLst/>
              <a:gdLst>
                <a:gd name="T0" fmla="*/ 0 w 193"/>
                <a:gd name="T1" fmla="*/ 8 h 215"/>
                <a:gd name="T2" fmla="*/ 0 w 193"/>
                <a:gd name="T3" fmla="*/ 13 h 215"/>
                <a:gd name="T4" fmla="*/ 1 w 193"/>
                <a:gd name="T5" fmla="*/ 14 h 215"/>
                <a:gd name="T6" fmla="*/ 0 w 193"/>
                <a:gd name="T7" fmla="*/ 17 h 215"/>
                <a:gd name="T8" fmla="*/ 0 w 193"/>
                <a:gd name="T9" fmla="*/ 21 h 215"/>
                <a:gd name="T10" fmla="*/ 1 w 193"/>
                <a:gd name="T11" fmla="*/ 22 h 215"/>
                <a:gd name="T12" fmla="*/ 3 w 193"/>
                <a:gd name="T13" fmla="*/ 16 h 215"/>
                <a:gd name="T14" fmla="*/ 5 w 193"/>
                <a:gd name="T15" fmla="*/ 11 h 215"/>
                <a:gd name="T16" fmla="*/ 5 w 193"/>
                <a:gd name="T17" fmla="*/ 5 h 215"/>
                <a:gd name="T18" fmla="*/ 3 w 193"/>
                <a:gd name="T19" fmla="*/ 4 h 215"/>
                <a:gd name="T20" fmla="*/ 2 w 193"/>
                <a:gd name="T21" fmla="*/ 0 h 215"/>
                <a:gd name="T22" fmla="*/ 0 w 193"/>
                <a:gd name="T23" fmla="*/ 2 h 215"/>
                <a:gd name="T24" fmla="*/ 0 w 193"/>
                <a:gd name="T25" fmla="*/ 8 h 2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3"/>
                <a:gd name="T40" fmla="*/ 0 h 215"/>
                <a:gd name="T41" fmla="*/ 193 w 193"/>
                <a:gd name="T42" fmla="*/ 215 h 2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3" h="215">
                  <a:moveTo>
                    <a:pt x="0" y="82"/>
                  </a:moveTo>
                  <a:lnTo>
                    <a:pt x="1" y="125"/>
                  </a:lnTo>
                  <a:lnTo>
                    <a:pt x="37" y="136"/>
                  </a:lnTo>
                  <a:lnTo>
                    <a:pt x="17" y="170"/>
                  </a:lnTo>
                  <a:lnTo>
                    <a:pt x="12" y="206"/>
                  </a:lnTo>
                  <a:lnTo>
                    <a:pt x="58" y="215"/>
                  </a:lnTo>
                  <a:lnTo>
                    <a:pt x="98" y="156"/>
                  </a:lnTo>
                  <a:lnTo>
                    <a:pt x="176" y="108"/>
                  </a:lnTo>
                  <a:lnTo>
                    <a:pt x="193" y="52"/>
                  </a:lnTo>
                  <a:lnTo>
                    <a:pt x="120" y="41"/>
                  </a:lnTo>
                  <a:lnTo>
                    <a:pt x="69" y="0"/>
                  </a:lnTo>
                  <a:lnTo>
                    <a:pt x="25" y="21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3" name="Freeform 65"/>
            <p:cNvSpPr>
              <a:spLocks noChangeAspect="1"/>
            </p:cNvSpPr>
            <p:nvPr/>
          </p:nvSpPr>
          <p:spPr bwMode="gray">
            <a:xfrm>
              <a:off x="2005637" y="3856877"/>
              <a:ext cx="59726" cy="33181"/>
            </a:xfrm>
            <a:custGeom>
              <a:avLst/>
              <a:gdLst>
                <a:gd name="T0" fmla="*/ 0 w 81"/>
                <a:gd name="T1" fmla="*/ 7 h 36"/>
                <a:gd name="T2" fmla="*/ 0 w 81"/>
                <a:gd name="T3" fmla="*/ 0 h 36"/>
                <a:gd name="T4" fmla="*/ 2 w 81"/>
                <a:gd name="T5" fmla="*/ 8 h 36"/>
                <a:gd name="T6" fmla="*/ 0 w 81"/>
                <a:gd name="T7" fmla="*/ 7 h 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1"/>
                <a:gd name="T13" fmla="*/ 0 h 36"/>
                <a:gd name="T14" fmla="*/ 81 w 81"/>
                <a:gd name="T15" fmla="*/ 36 h 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1" h="36">
                  <a:moveTo>
                    <a:pt x="0" y="27"/>
                  </a:moveTo>
                  <a:lnTo>
                    <a:pt x="24" y="0"/>
                  </a:lnTo>
                  <a:lnTo>
                    <a:pt x="81" y="36"/>
                  </a:lnTo>
                  <a:lnTo>
                    <a:pt x="0" y="2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4" name="Freeform 66"/>
            <p:cNvSpPr>
              <a:spLocks noChangeAspect="1"/>
            </p:cNvSpPr>
            <p:nvPr/>
          </p:nvSpPr>
          <p:spPr bwMode="gray">
            <a:xfrm>
              <a:off x="2736136" y="5978821"/>
              <a:ext cx="39818" cy="23227"/>
            </a:xfrm>
            <a:custGeom>
              <a:avLst/>
              <a:gdLst>
                <a:gd name="T0" fmla="*/ 0 w 53"/>
                <a:gd name="T1" fmla="*/ 0 h 30"/>
                <a:gd name="T2" fmla="*/ 1 w 53"/>
                <a:gd name="T3" fmla="*/ 0 h 30"/>
                <a:gd name="T4" fmla="*/ 0 w 53"/>
                <a:gd name="T5" fmla="*/ 0 h 30"/>
                <a:gd name="T6" fmla="*/ 2 w 53"/>
                <a:gd name="T7" fmla="*/ 0 h 30"/>
                <a:gd name="T8" fmla="*/ 0 w 53"/>
                <a:gd name="T9" fmla="*/ 0 h 3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3"/>
                <a:gd name="T16" fmla="*/ 0 h 30"/>
                <a:gd name="T17" fmla="*/ 53 w 53"/>
                <a:gd name="T18" fmla="*/ 30 h 3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3" h="30">
                  <a:moveTo>
                    <a:pt x="0" y="30"/>
                  </a:moveTo>
                  <a:lnTo>
                    <a:pt x="32" y="14"/>
                  </a:lnTo>
                  <a:lnTo>
                    <a:pt x="16" y="0"/>
                  </a:lnTo>
                  <a:lnTo>
                    <a:pt x="53" y="3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5" name="Freeform 67"/>
            <p:cNvSpPr>
              <a:spLocks noChangeAspect="1"/>
            </p:cNvSpPr>
            <p:nvPr/>
          </p:nvSpPr>
          <p:spPr bwMode="gray">
            <a:xfrm>
              <a:off x="2766765" y="5970525"/>
              <a:ext cx="45943" cy="34840"/>
            </a:xfrm>
            <a:custGeom>
              <a:avLst/>
              <a:gdLst>
                <a:gd name="T0" fmla="*/ 0 w 63"/>
                <a:gd name="T1" fmla="*/ 12 h 37"/>
                <a:gd name="T2" fmla="*/ 0 w 63"/>
                <a:gd name="T3" fmla="*/ 0 h 37"/>
                <a:gd name="T4" fmla="*/ 1 w 63"/>
                <a:gd name="T5" fmla="*/ 5 h 37"/>
                <a:gd name="T6" fmla="*/ 0 w 63"/>
                <a:gd name="T7" fmla="*/ 12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3"/>
                <a:gd name="T13" fmla="*/ 0 h 37"/>
                <a:gd name="T14" fmla="*/ 63 w 63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3" h="37">
                  <a:moveTo>
                    <a:pt x="0" y="37"/>
                  </a:moveTo>
                  <a:lnTo>
                    <a:pt x="28" y="0"/>
                  </a:lnTo>
                  <a:lnTo>
                    <a:pt x="63" y="14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6" name="Freeform 68"/>
            <p:cNvSpPr>
              <a:spLocks noChangeAspect="1"/>
            </p:cNvSpPr>
            <p:nvPr/>
          </p:nvSpPr>
          <p:spPr bwMode="gray">
            <a:xfrm>
              <a:off x="4774488" y="1761479"/>
              <a:ext cx="269534" cy="491083"/>
            </a:xfrm>
            <a:custGeom>
              <a:avLst/>
              <a:gdLst>
                <a:gd name="T0" fmla="*/ 0 w 378"/>
                <a:gd name="T1" fmla="*/ 5 h 567"/>
                <a:gd name="T2" fmla="*/ 0 w 378"/>
                <a:gd name="T3" fmla="*/ 4 h 567"/>
                <a:gd name="T4" fmla="*/ 1 w 378"/>
                <a:gd name="T5" fmla="*/ 7 h 567"/>
                <a:gd name="T6" fmla="*/ 2 w 378"/>
                <a:gd name="T7" fmla="*/ 8 h 567"/>
                <a:gd name="T8" fmla="*/ 3 w 378"/>
                <a:gd name="T9" fmla="*/ 5 h 567"/>
                <a:gd name="T10" fmla="*/ 3 w 378"/>
                <a:gd name="T11" fmla="*/ 1 h 567"/>
                <a:gd name="T12" fmla="*/ 4 w 378"/>
                <a:gd name="T13" fmla="*/ 0 h 567"/>
                <a:gd name="T14" fmla="*/ 5 w 378"/>
                <a:gd name="T15" fmla="*/ 2 h 567"/>
                <a:gd name="T16" fmla="*/ 5 w 378"/>
                <a:gd name="T17" fmla="*/ 5 h 567"/>
                <a:gd name="T18" fmla="*/ 5 w 378"/>
                <a:gd name="T19" fmla="*/ 9 h 567"/>
                <a:gd name="T20" fmla="*/ 6 w 378"/>
                <a:gd name="T21" fmla="*/ 14 h 567"/>
                <a:gd name="T22" fmla="*/ 5 w 378"/>
                <a:gd name="T23" fmla="*/ 17 h 567"/>
                <a:gd name="T24" fmla="*/ 6 w 378"/>
                <a:gd name="T25" fmla="*/ 22 h 567"/>
                <a:gd name="T26" fmla="*/ 6 w 378"/>
                <a:gd name="T27" fmla="*/ 28 h 567"/>
                <a:gd name="T28" fmla="*/ 7 w 378"/>
                <a:gd name="T29" fmla="*/ 39 h 567"/>
                <a:gd name="T30" fmla="*/ 4 w 378"/>
                <a:gd name="T31" fmla="*/ 49 h 567"/>
                <a:gd name="T32" fmla="*/ 1 w 378"/>
                <a:gd name="T33" fmla="*/ 53 h 567"/>
                <a:gd name="T34" fmla="*/ 1 w 378"/>
                <a:gd name="T35" fmla="*/ 51 h 567"/>
                <a:gd name="T36" fmla="*/ 0 w 378"/>
                <a:gd name="T37" fmla="*/ 49 h 567"/>
                <a:gd name="T38" fmla="*/ 0 w 378"/>
                <a:gd name="T39" fmla="*/ 39 h 567"/>
                <a:gd name="T40" fmla="*/ 3 w 378"/>
                <a:gd name="T41" fmla="*/ 28 h 567"/>
                <a:gd name="T42" fmla="*/ 2 w 378"/>
                <a:gd name="T43" fmla="*/ 22 h 567"/>
                <a:gd name="T44" fmla="*/ 2 w 378"/>
                <a:gd name="T45" fmla="*/ 11 h 567"/>
                <a:gd name="T46" fmla="*/ 0 w 378"/>
                <a:gd name="T47" fmla="*/ 5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78"/>
                <a:gd name="T73" fmla="*/ 0 h 567"/>
                <a:gd name="T74" fmla="*/ 378 w 378"/>
                <a:gd name="T75" fmla="*/ 567 h 56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78" h="567">
                  <a:moveTo>
                    <a:pt x="0" y="58"/>
                  </a:moveTo>
                  <a:lnTo>
                    <a:pt x="25" y="41"/>
                  </a:lnTo>
                  <a:lnTo>
                    <a:pt x="65" y="75"/>
                  </a:lnTo>
                  <a:lnTo>
                    <a:pt x="137" y="82"/>
                  </a:lnTo>
                  <a:lnTo>
                    <a:pt x="179" y="60"/>
                  </a:lnTo>
                  <a:lnTo>
                    <a:pt x="191" y="13"/>
                  </a:lnTo>
                  <a:lnTo>
                    <a:pt x="259" y="0"/>
                  </a:lnTo>
                  <a:lnTo>
                    <a:pt x="296" y="18"/>
                  </a:lnTo>
                  <a:lnTo>
                    <a:pt x="292" y="58"/>
                  </a:lnTo>
                  <a:lnTo>
                    <a:pt x="278" y="99"/>
                  </a:lnTo>
                  <a:lnTo>
                    <a:pt x="327" y="148"/>
                  </a:lnTo>
                  <a:lnTo>
                    <a:pt x="297" y="183"/>
                  </a:lnTo>
                  <a:lnTo>
                    <a:pt x="333" y="245"/>
                  </a:lnTo>
                  <a:lnTo>
                    <a:pt x="319" y="302"/>
                  </a:lnTo>
                  <a:lnTo>
                    <a:pt x="378" y="420"/>
                  </a:lnTo>
                  <a:lnTo>
                    <a:pt x="245" y="532"/>
                  </a:lnTo>
                  <a:lnTo>
                    <a:pt x="85" y="567"/>
                  </a:lnTo>
                  <a:lnTo>
                    <a:pt x="76" y="545"/>
                  </a:lnTo>
                  <a:lnTo>
                    <a:pt x="25" y="527"/>
                  </a:lnTo>
                  <a:lnTo>
                    <a:pt x="17" y="418"/>
                  </a:lnTo>
                  <a:lnTo>
                    <a:pt x="170" y="297"/>
                  </a:lnTo>
                  <a:lnTo>
                    <a:pt x="120" y="238"/>
                  </a:lnTo>
                  <a:lnTo>
                    <a:pt x="102" y="119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7" name="Freeform 69"/>
            <p:cNvSpPr>
              <a:spLocks noChangeAspect="1"/>
            </p:cNvSpPr>
            <p:nvPr/>
          </p:nvSpPr>
          <p:spPr bwMode="gray">
            <a:xfrm>
              <a:off x="4145064" y="2617556"/>
              <a:ext cx="315477" cy="330154"/>
            </a:xfrm>
            <a:custGeom>
              <a:avLst/>
              <a:gdLst>
                <a:gd name="T0" fmla="*/ 0 w 438"/>
                <a:gd name="T1" fmla="*/ 11 h 380"/>
                <a:gd name="T2" fmla="*/ 0 w 438"/>
                <a:gd name="T3" fmla="*/ 15 h 380"/>
                <a:gd name="T4" fmla="*/ 2 w 438"/>
                <a:gd name="T5" fmla="*/ 17 h 380"/>
                <a:gd name="T6" fmla="*/ 2 w 438"/>
                <a:gd name="T7" fmla="*/ 19 h 380"/>
                <a:gd name="T8" fmla="*/ 2 w 438"/>
                <a:gd name="T9" fmla="*/ 21 h 380"/>
                <a:gd name="T10" fmla="*/ 3 w 438"/>
                <a:gd name="T11" fmla="*/ 25 h 380"/>
                <a:gd name="T12" fmla="*/ 2 w 438"/>
                <a:gd name="T13" fmla="*/ 32 h 380"/>
                <a:gd name="T14" fmla="*/ 4 w 438"/>
                <a:gd name="T15" fmla="*/ 36 h 380"/>
                <a:gd name="T16" fmla="*/ 4 w 438"/>
                <a:gd name="T17" fmla="*/ 36 h 380"/>
                <a:gd name="T18" fmla="*/ 5 w 438"/>
                <a:gd name="T19" fmla="*/ 37 h 380"/>
                <a:gd name="T20" fmla="*/ 5 w 438"/>
                <a:gd name="T21" fmla="*/ 34 h 380"/>
                <a:gd name="T22" fmla="*/ 6 w 438"/>
                <a:gd name="T23" fmla="*/ 32 h 380"/>
                <a:gd name="T24" fmla="*/ 7 w 438"/>
                <a:gd name="T25" fmla="*/ 34 h 380"/>
                <a:gd name="T26" fmla="*/ 8 w 438"/>
                <a:gd name="T27" fmla="*/ 31 h 380"/>
                <a:gd name="T28" fmla="*/ 8 w 438"/>
                <a:gd name="T29" fmla="*/ 26 h 380"/>
                <a:gd name="T30" fmla="*/ 8 w 438"/>
                <a:gd name="T31" fmla="*/ 22 h 380"/>
                <a:gd name="T32" fmla="*/ 7 w 438"/>
                <a:gd name="T33" fmla="*/ 20 h 380"/>
                <a:gd name="T34" fmla="*/ 8 w 438"/>
                <a:gd name="T35" fmla="*/ 15 h 380"/>
                <a:gd name="T36" fmla="*/ 8 w 438"/>
                <a:gd name="T37" fmla="*/ 9 h 380"/>
                <a:gd name="T38" fmla="*/ 8 w 438"/>
                <a:gd name="T39" fmla="*/ 7 h 380"/>
                <a:gd name="T40" fmla="*/ 7 w 438"/>
                <a:gd name="T41" fmla="*/ 7 h 380"/>
                <a:gd name="T42" fmla="*/ 5 w 438"/>
                <a:gd name="T43" fmla="*/ 0 h 380"/>
                <a:gd name="T44" fmla="*/ 4 w 438"/>
                <a:gd name="T45" fmla="*/ 2 h 380"/>
                <a:gd name="T46" fmla="*/ 4 w 438"/>
                <a:gd name="T47" fmla="*/ 7 h 380"/>
                <a:gd name="T48" fmla="*/ 2 w 438"/>
                <a:gd name="T49" fmla="*/ 6 h 380"/>
                <a:gd name="T50" fmla="*/ 2 w 438"/>
                <a:gd name="T51" fmla="*/ 11 h 380"/>
                <a:gd name="T52" fmla="*/ 0 w 438"/>
                <a:gd name="T53" fmla="*/ 11 h 38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38"/>
                <a:gd name="T82" fmla="*/ 0 h 380"/>
                <a:gd name="T83" fmla="*/ 438 w 438"/>
                <a:gd name="T84" fmla="*/ 380 h 38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38" h="380">
                  <a:moveTo>
                    <a:pt x="0" y="117"/>
                  </a:moveTo>
                  <a:lnTo>
                    <a:pt x="15" y="150"/>
                  </a:lnTo>
                  <a:lnTo>
                    <a:pt x="105" y="173"/>
                  </a:lnTo>
                  <a:lnTo>
                    <a:pt x="91" y="191"/>
                  </a:lnTo>
                  <a:lnTo>
                    <a:pt x="124" y="216"/>
                  </a:lnTo>
                  <a:lnTo>
                    <a:pt x="138" y="258"/>
                  </a:lnTo>
                  <a:lnTo>
                    <a:pt x="99" y="338"/>
                  </a:lnTo>
                  <a:lnTo>
                    <a:pt x="208" y="370"/>
                  </a:lnTo>
                  <a:lnTo>
                    <a:pt x="219" y="373"/>
                  </a:lnTo>
                  <a:lnTo>
                    <a:pt x="270" y="380"/>
                  </a:lnTo>
                  <a:lnTo>
                    <a:pt x="270" y="348"/>
                  </a:lnTo>
                  <a:lnTo>
                    <a:pt x="300" y="331"/>
                  </a:lnTo>
                  <a:lnTo>
                    <a:pt x="372" y="351"/>
                  </a:lnTo>
                  <a:lnTo>
                    <a:pt x="418" y="320"/>
                  </a:lnTo>
                  <a:lnTo>
                    <a:pt x="390" y="273"/>
                  </a:lnTo>
                  <a:lnTo>
                    <a:pt x="401" y="229"/>
                  </a:lnTo>
                  <a:lnTo>
                    <a:pt x="367" y="205"/>
                  </a:lnTo>
                  <a:lnTo>
                    <a:pt x="418" y="153"/>
                  </a:lnTo>
                  <a:lnTo>
                    <a:pt x="438" y="97"/>
                  </a:lnTo>
                  <a:lnTo>
                    <a:pt x="373" y="73"/>
                  </a:lnTo>
                  <a:lnTo>
                    <a:pt x="356" y="66"/>
                  </a:lnTo>
                  <a:lnTo>
                    <a:pt x="257" y="0"/>
                  </a:lnTo>
                  <a:lnTo>
                    <a:pt x="223" y="13"/>
                  </a:lnTo>
                  <a:lnTo>
                    <a:pt x="182" y="75"/>
                  </a:lnTo>
                  <a:lnTo>
                    <a:pt x="98" y="64"/>
                  </a:lnTo>
                  <a:lnTo>
                    <a:pt x="110" y="114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8" name="Freeform 70"/>
            <p:cNvSpPr>
              <a:spLocks noChangeAspect="1"/>
            </p:cNvSpPr>
            <p:nvPr/>
          </p:nvSpPr>
          <p:spPr bwMode="gray">
            <a:xfrm>
              <a:off x="4472793" y="2922824"/>
              <a:ext cx="18377" cy="63044"/>
            </a:xfrm>
            <a:custGeom>
              <a:avLst/>
              <a:gdLst>
                <a:gd name="T0" fmla="*/ 0 w 27"/>
                <a:gd name="T1" fmla="*/ 5 h 71"/>
                <a:gd name="T2" fmla="*/ 0 w 27"/>
                <a:gd name="T3" fmla="*/ 10 h 71"/>
                <a:gd name="T4" fmla="*/ 0 w 27"/>
                <a:gd name="T5" fmla="*/ 0 h 71"/>
                <a:gd name="T6" fmla="*/ 0 w 27"/>
                <a:gd name="T7" fmla="*/ 5 h 7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71"/>
                <a:gd name="T14" fmla="*/ 27 w 27"/>
                <a:gd name="T15" fmla="*/ 71 h 7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71">
                  <a:moveTo>
                    <a:pt x="0" y="36"/>
                  </a:moveTo>
                  <a:lnTo>
                    <a:pt x="25" y="71"/>
                  </a:lnTo>
                  <a:lnTo>
                    <a:pt x="27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69" name="Freeform 71"/>
            <p:cNvSpPr>
              <a:spLocks noChangeAspect="1"/>
            </p:cNvSpPr>
            <p:nvPr/>
          </p:nvSpPr>
          <p:spPr bwMode="gray">
            <a:xfrm>
              <a:off x="2898469" y="4125646"/>
              <a:ext cx="73509" cy="104521"/>
            </a:xfrm>
            <a:custGeom>
              <a:avLst/>
              <a:gdLst>
                <a:gd name="T0" fmla="*/ 0 w 101"/>
                <a:gd name="T1" fmla="*/ 13 h 119"/>
                <a:gd name="T2" fmla="*/ 0 w 101"/>
                <a:gd name="T3" fmla="*/ 0 h 119"/>
                <a:gd name="T4" fmla="*/ 2 w 101"/>
                <a:gd name="T5" fmla="*/ 6 h 119"/>
                <a:gd name="T6" fmla="*/ 1 w 101"/>
                <a:gd name="T7" fmla="*/ 14 h 119"/>
                <a:gd name="T8" fmla="*/ 0 w 101"/>
                <a:gd name="T9" fmla="*/ 13 h 1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1"/>
                <a:gd name="T16" fmla="*/ 0 h 119"/>
                <a:gd name="T17" fmla="*/ 101 w 101"/>
                <a:gd name="T18" fmla="*/ 119 h 1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1" h="119">
                  <a:moveTo>
                    <a:pt x="0" y="114"/>
                  </a:moveTo>
                  <a:lnTo>
                    <a:pt x="15" y="0"/>
                  </a:lnTo>
                  <a:lnTo>
                    <a:pt x="101" y="51"/>
                  </a:lnTo>
                  <a:lnTo>
                    <a:pt x="49" y="119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0" name="Freeform 72"/>
            <p:cNvSpPr>
              <a:spLocks noChangeAspect="1"/>
            </p:cNvSpPr>
            <p:nvPr/>
          </p:nvSpPr>
          <p:spPr bwMode="gray">
            <a:xfrm>
              <a:off x="4405410" y="2466581"/>
              <a:ext cx="217465" cy="291995"/>
            </a:xfrm>
            <a:custGeom>
              <a:avLst/>
              <a:gdLst>
                <a:gd name="T0" fmla="*/ 0 w 302"/>
                <a:gd name="T1" fmla="*/ 14 h 335"/>
                <a:gd name="T2" fmla="*/ 0 w 302"/>
                <a:gd name="T3" fmla="*/ 19 h 335"/>
                <a:gd name="T4" fmla="*/ 0 w 302"/>
                <a:gd name="T5" fmla="*/ 22 h 335"/>
                <a:gd name="T6" fmla="*/ 0 w 302"/>
                <a:gd name="T7" fmla="*/ 25 h 335"/>
                <a:gd name="T8" fmla="*/ 1 w 302"/>
                <a:gd name="T9" fmla="*/ 28 h 335"/>
                <a:gd name="T10" fmla="*/ 1 w 302"/>
                <a:gd name="T11" fmla="*/ 34 h 335"/>
                <a:gd name="T12" fmla="*/ 2 w 302"/>
                <a:gd name="T13" fmla="*/ 34 h 335"/>
                <a:gd name="T14" fmla="*/ 5 w 302"/>
                <a:gd name="T15" fmla="*/ 34 h 335"/>
                <a:gd name="T16" fmla="*/ 5 w 302"/>
                <a:gd name="T17" fmla="*/ 28 h 335"/>
                <a:gd name="T18" fmla="*/ 4 w 302"/>
                <a:gd name="T19" fmla="*/ 22 h 335"/>
                <a:gd name="T20" fmla="*/ 5 w 302"/>
                <a:gd name="T21" fmla="*/ 18 h 335"/>
                <a:gd name="T22" fmla="*/ 6 w 302"/>
                <a:gd name="T23" fmla="*/ 19 h 335"/>
                <a:gd name="T24" fmla="*/ 5 w 302"/>
                <a:gd name="T25" fmla="*/ 5 h 335"/>
                <a:gd name="T26" fmla="*/ 4 w 302"/>
                <a:gd name="T27" fmla="*/ 2 h 335"/>
                <a:gd name="T28" fmla="*/ 3 w 302"/>
                <a:gd name="T29" fmla="*/ 4 h 335"/>
                <a:gd name="T30" fmla="*/ 3 w 302"/>
                <a:gd name="T31" fmla="*/ 3 h 335"/>
                <a:gd name="T32" fmla="*/ 2 w 302"/>
                <a:gd name="T33" fmla="*/ 0 h 335"/>
                <a:gd name="T34" fmla="*/ 2 w 302"/>
                <a:gd name="T35" fmla="*/ 0 h 335"/>
                <a:gd name="T36" fmla="*/ 2 w 302"/>
                <a:gd name="T37" fmla="*/ 7 h 335"/>
                <a:gd name="T38" fmla="*/ 1 w 302"/>
                <a:gd name="T39" fmla="*/ 5 h 335"/>
                <a:gd name="T40" fmla="*/ 1 w 302"/>
                <a:gd name="T41" fmla="*/ 8 h 335"/>
                <a:gd name="T42" fmla="*/ 0 w 302"/>
                <a:gd name="T43" fmla="*/ 13 h 335"/>
                <a:gd name="T44" fmla="*/ 0 w 302"/>
                <a:gd name="T45" fmla="*/ 14 h 33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02"/>
                <a:gd name="T70" fmla="*/ 0 h 335"/>
                <a:gd name="T71" fmla="*/ 302 w 302"/>
                <a:gd name="T72" fmla="*/ 335 h 33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02" h="335">
                  <a:moveTo>
                    <a:pt x="0" y="138"/>
                  </a:moveTo>
                  <a:lnTo>
                    <a:pt x="2" y="192"/>
                  </a:lnTo>
                  <a:lnTo>
                    <a:pt x="4" y="217"/>
                  </a:lnTo>
                  <a:lnTo>
                    <a:pt x="8" y="247"/>
                  </a:lnTo>
                  <a:lnTo>
                    <a:pt x="73" y="271"/>
                  </a:lnTo>
                  <a:lnTo>
                    <a:pt x="53" y="327"/>
                  </a:lnTo>
                  <a:lnTo>
                    <a:pt x="121" y="335"/>
                  </a:lnTo>
                  <a:lnTo>
                    <a:pt x="237" y="333"/>
                  </a:lnTo>
                  <a:lnTo>
                    <a:pt x="269" y="280"/>
                  </a:lnTo>
                  <a:lnTo>
                    <a:pt x="206" y="210"/>
                  </a:lnTo>
                  <a:lnTo>
                    <a:pt x="282" y="173"/>
                  </a:lnTo>
                  <a:lnTo>
                    <a:pt x="302" y="184"/>
                  </a:lnTo>
                  <a:lnTo>
                    <a:pt x="282" y="51"/>
                  </a:lnTo>
                  <a:lnTo>
                    <a:pt x="226" y="18"/>
                  </a:lnTo>
                  <a:lnTo>
                    <a:pt x="165" y="40"/>
                  </a:lnTo>
                  <a:lnTo>
                    <a:pt x="173" y="25"/>
                  </a:lnTo>
                  <a:lnTo>
                    <a:pt x="121" y="0"/>
                  </a:lnTo>
                  <a:lnTo>
                    <a:pt x="93" y="0"/>
                  </a:lnTo>
                  <a:lnTo>
                    <a:pt x="91" y="73"/>
                  </a:lnTo>
                  <a:lnTo>
                    <a:pt x="60" y="53"/>
                  </a:lnTo>
                  <a:lnTo>
                    <a:pt x="41" y="77"/>
                  </a:lnTo>
                  <a:lnTo>
                    <a:pt x="36" y="121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1" name="Freeform 73"/>
            <p:cNvSpPr>
              <a:spLocks noChangeAspect="1"/>
            </p:cNvSpPr>
            <p:nvPr/>
          </p:nvSpPr>
          <p:spPr bwMode="gray">
            <a:xfrm>
              <a:off x="4760705" y="2969278"/>
              <a:ext cx="159270" cy="187474"/>
            </a:xfrm>
            <a:custGeom>
              <a:avLst/>
              <a:gdLst>
                <a:gd name="T0" fmla="*/ 0 w 216"/>
                <a:gd name="T1" fmla="*/ 8 h 216"/>
                <a:gd name="T2" fmla="*/ 0 w 216"/>
                <a:gd name="T3" fmla="*/ 4 h 216"/>
                <a:gd name="T4" fmla="*/ 3 w 216"/>
                <a:gd name="T5" fmla="*/ 2 h 216"/>
                <a:gd name="T6" fmla="*/ 5 w 216"/>
                <a:gd name="T7" fmla="*/ 2 h 216"/>
                <a:gd name="T8" fmla="*/ 6 w 216"/>
                <a:gd name="T9" fmla="*/ 0 h 216"/>
                <a:gd name="T10" fmla="*/ 6 w 216"/>
                <a:gd name="T11" fmla="*/ 4 h 216"/>
                <a:gd name="T12" fmla="*/ 4 w 216"/>
                <a:gd name="T13" fmla="*/ 3 h 216"/>
                <a:gd name="T14" fmla="*/ 3 w 216"/>
                <a:gd name="T15" fmla="*/ 7 h 216"/>
                <a:gd name="T16" fmla="*/ 2 w 216"/>
                <a:gd name="T17" fmla="*/ 5 h 216"/>
                <a:gd name="T18" fmla="*/ 3 w 216"/>
                <a:gd name="T19" fmla="*/ 10 h 216"/>
                <a:gd name="T20" fmla="*/ 2 w 216"/>
                <a:gd name="T21" fmla="*/ 12 h 216"/>
                <a:gd name="T22" fmla="*/ 4 w 216"/>
                <a:gd name="T23" fmla="*/ 14 h 216"/>
                <a:gd name="T24" fmla="*/ 4 w 216"/>
                <a:gd name="T25" fmla="*/ 16 h 216"/>
                <a:gd name="T26" fmla="*/ 2 w 216"/>
                <a:gd name="T27" fmla="*/ 17 h 216"/>
                <a:gd name="T28" fmla="*/ 3 w 216"/>
                <a:gd name="T29" fmla="*/ 20 h 216"/>
                <a:gd name="T30" fmla="*/ 1 w 216"/>
                <a:gd name="T31" fmla="*/ 19 h 216"/>
                <a:gd name="T32" fmla="*/ 1 w 216"/>
                <a:gd name="T33" fmla="*/ 16 h 216"/>
                <a:gd name="T34" fmla="*/ 3 w 216"/>
                <a:gd name="T35" fmla="*/ 14 h 216"/>
                <a:gd name="T36" fmla="*/ 1 w 216"/>
                <a:gd name="T37" fmla="*/ 14 h 216"/>
                <a:gd name="T38" fmla="*/ 0 w 216"/>
                <a:gd name="T39" fmla="*/ 8 h 21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6"/>
                <a:gd name="T61" fmla="*/ 0 h 216"/>
                <a:gd name="T62" fmla="*/ 216 w 216"/>
                <a:gd name="T63" fmla="*/ 216 h 21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6" h="216">
                  <a:moveTo>
                    <a:pt x="0" y="87"/>
                  </a:moveTo>
                  <a:lnTo>
                    <a:pt x="29" y="38"/>
                  </a:lnTo>
                  <a:lnTo>
                    <a:pt x="98" y="19"/>
                  </a:lnTo>
                  <a:lnTo>
                    <a:pt x="183" y="21"/>
                  </a:lnTo>
                  <a:lnTo>
                    <a:pt x="216" y="0"/>
                  </a:lnTo>
                  <a:lnTo>
                    <a:pt x="205" y="45"/>
                  </a:lnTo>
                  <a:lnTo>
                    <a:pt x="146" y="35"/>
                  </a:lnTo>
                  <a:lnTo>
                    <a:pt x="116" y="73"/>
                  </a:lnTo>
                  <a:lnTo>
                    <a:pt x="85" y="52"/>
                  </a:lnTo>
                  <a:lnTo>
                    <a:pt x="107" y="110"/>
                  </a:lnTo>
                  <a:lnTo>
                    <a:pt x="79" y="121"/>
                  </a:lnTo>
                  <a:lnTo>
                    <a:pt x="133" y="145"/>
                  </a:lnTo>
                  <a:lnTo>
                    <a:pt x="133" y="169"/>
                  </a:lnTo>
                  <a:lnTo>
                    <a:pt x="89" y="175"/>
                  </a:lnTo>
                  <a:lnTo>
                    <a:pt x="104" y="216"/>
                  </a:lnTo>
                  <a:lnTo>
                    <a:pt x="51" y="203"/>
                  </a:lnTo>
                  <a:lnTo>
                    <a:pt x="35" y="164"/>
                  </a:lnTo>
                  <a:lnTo>
                    <a:pt x="105" y="148"/>
                  </a:lnTo>
                  <a:lnTo>
                    <a:pt x="35" y="142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2" name="Freeform 74"/>
            <p:cNvSpPr>
              <a:spLocks noChangeAspect="1"/>
            </p:cNvSpPr>
            <p:nvPr/>
          </p:nvSpPr>
          <p:spPr bwMode="gray">
            <a:xfrm>
              <a:off x="4847997" y="3188274"/>
              <a:ext cx="71978" cy="9954"/>
            </a:xfrm>
            <a:custGeom>
              <a:avLst/>
              <a:gdLst>
                <a:gd name="T0" fmla="*/ 0 w 101"/>
                <a:gd name="T1" fmla="*/ 0 h 14"/>
                <a:gd name="T2" fmla="*/ 0 w 101"/>
                <a:gd name="T3" fmla="*/ 0 h 14"/>
                <a:gd name="T4" fmla="*/ 1 w 101"/>
                <a:gd name="T5" fmla="*/ 0 h 14"/>
                <a:gd name="T6" fmla="*/ 0 w 101"/>
                <a:gd name="T7" fmla="*/ 0 h 14"/>
                <a:gd name="T8" fmla="*/ 0 w 101"/>
                <a:gd name="T9" fmla="*/ 0 h 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1"/>
                <a:gd name="T16" fmla="*/ 0 h 14"/>
                <a:gd name="T17" fmla="*/ 101 w 101"/>
                <a:gd name="T18" fmla="*/ 14 h 1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1" h="14">
                  <a:moveTo>
                    <a:pt x="0" y="14"/>
                  </a:moveTo>
                  <a:lnTo>
                    <a:pt x="8" y="0"/>
                  </a:lnTo>
                  <a:lnTo>
                    <a:pt x="101" y="14"/>
                  </a:lnTo>
                  <a:lnTo>
                    <a:pt x="33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FFD815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3" name="Freeform 75"/>
            <p:cNvSpPr>
              <a:spLocks noChangeAspect="1"/>
            </p:cNvSpPr>
            <p:nvPr/>
          </p:nvSpPr>
          <p:spPr bwMode="gray">
            <a:xfrm>
              <a:off x="2432910" y="908720"/>
              <a:ext cx="1520724" cy="1332229"/>
            </a:xfrm>
            <a:custGeom>
              <a:avLst/>
              <a:gdLst>
                <a:gd name="T0" fmla="*/ 5 w 2109"/>
                <a:gd name="T1" fmla="*/ 33 h 1540"/>
                <a:gd name="T2" fmla="*/ 5 w 2109"/>
                <a:gd name="T3" fmla="*/ 27 h 1540"/>
                <a:gd name="T4" fmla="*/ 4 w 2109"/>
                <a:gd name="T5" fmla="*/ 25 h 1540"/>
                <a:gd name="T6" fmla="*/ 8 w 2109"/>
                <a:gd name="T7" fmla="*/ 14 h 1540"/>
                <a:gd name="T8" fmla="*/ 12 w 2109"/>
                <a:gd name="T9" fmla="*/ 9 h 1540"/>
                <a:gd name="T10" fmla="*/ 15 w 2109"/>
                <a:gd name="T11" fmla="*/ 15 h 1540"/>
                <a:gd name="T12" fmla="*/ 15 w 2109"/>
                <a:gd name="T13" fmla="*/ 8 h 1540"/>
                <a:gd name="T14" fmla="*/ 19 w 2109"/>
                <a:gd name="T15" fmla="*/ 11 h 1540"/>
                <a:gd name="T16" fmla="*/ 22 w 2109"/>
                <a:gd name="T17" fmla="*/ 8 h 1540"/>
                <a:gd name="T18" fmla="*/ 18 w 2109"/>
                <a:gd name="T19" fmla="*/ 3 h 1540"/>
                <a:gd name="T20" fmla="*/ 23 w 2109"/>
                <a:gd name="T21" fmla="*/ 6 h 1540"/>
                <a:gd name="T22" fmla="*/ 23 w 2109"/>
                <a:gd name="T23" fmla="*/ 1 h 1540"/>
                <a:gd name="T24" fmla="*/ 31 w 2109"/>
                <a:gd name="T25" fmla="*/ 3 h 1540"/>
                <a:gd name="T26" fmla="*/ 32 w 2109"/>
                <a:gd name="T27" fmla="*/ 3 h 1540"/>
                <a:gd name="T28" fmla="*/ 35 w 2109"/>
                <a:gd name="T29" fmla="*/ 8 h 1540"/>
                <a:gd name="T30" fmla="*/ 27 w 2109"/>
                <a:gd name="T31" fmla="*/ 13 h 1540"/>
                <a:gd name="T32" fmla="*/ 31 w 2109"/>
                <a:gd name="T33" fmla="*/ 16 h 1540"/>
                <a:gd name="T34" fmla="*/ 36 w 2109"/>
                <a:gd name="T35" fmla="*/ 15 h 1540"/>
                <a:gd name="T36" fmla="*/ 40 w 2109"/>
                <a:gd name="T37" fmla="*/ 13 h 1540"/>
                <a:gd name="T38" fmla="*/ 35 w 2109"/>
                <a:gd name="T39" fmla="*/ 23 h 1540"/>
                <a:gd name="T40" fmla="*/ 38 w 2109"/>
                <a:gd name="T41" fmla="*/ 26 h 1540"/>
                <a:gd name="T42" fmla="*/ 35 w 2109"/>
                <a:gd name="T43" fmla="*/ 35 h 1540"/>
                <a:gd name="T44" fmla="*/ 36 w 2109"/>
                <a:gd name="T45" fmla="*/ 42 h 1540"/>
                <a:gd name="T46" fmla="*/ 35 w 2109"/>
                <a:gd name="T47" fmla="*/ 47 h 1540"/>
                <a:gd name="T48" fmla="*/ 36 w 2109"/>
                <a:gd name="T49" fmla="*/ 53 h 1540"/>
                <a:gd name="T50" fmla="*/ 34 w 2109"/>
                <a:gd name="T51" fmla="*/ 57 h 1540"/>
                <a:gd name="T52" fmla="*/ 35 w 2109"/>
                <a:gd name="T53" fmla="*/ 62 h 1540"/>
                <a:gd name="T54" fmla="*/ 36 w 2109"/>
                <a:gd name="T55" fmla="*/ 67 h 1540"/>
                <a:gd name="T56" fmla="*/ 32 w 2109"/>
                <a:gd name="T57" fmla="*/ 70 h 1540"/>
                <a:gd name="T58" fmla="*/ 32 w 2109"/>
                <a:gd name="T59" fmla="*/ 78 h 1540"/>
                <a:gd name="T60" fmla="*/ 35 w 2109"/>
                <a:gd name="T61" fmla="*/ 80 h 1540"/>
                <a:gd name="T62" fmla="*/ 34 w 2109"/>
                <a:gd name="T63" fmla="*/ 85 h 1540"/>
                <a:gd name="T64" fmla="*/ 31 w 2109"/>
                <a:gd name="T65" fmla="*/ 79 h 1540"/>
                <a:gd name="T66" fmla="*/ 32 w 2109"/>
                <a:gd name="T67" fmla="*/ 88 h 1540"/>
                <a:gd name="T68" fmla="*/ 32 w 2109"/>
                <a:gd name="T69" fmla="*/ 97 h 1540"/>
                <a:gd name="T70" fmla="*/ 28 w 2109"/>
                <a:gd name="T71" fmla="*/ 100 h 1540"/>
                <a:gd name="T72" fmla="*/ 25 w 2109"/>
                <a:gd name="T73" fmla="*/ 112 h 1540"/>
                <a:gd name="T74" fmla="*/ 24 w 2109"/>
                <a:gd name="T75" fmla="*/ 110 h 1540"/>
                <a:gd name="T76" fmla="*/ 22 w 2109"/>
                <a:gd name="T77" fmla="*/ 117 h 1540"/>
                <a:gd name="T78" fmla="*/ 22 w 2109"/>
                <a:gd name="T79" fmla="*/ 123 h 1540"/>
                <a:gd name="T80" fmla="*/ 22 w 2109"/>
                <a:gd name="T81" fmla="*/ 127 h 1540"/>
                <a:gd name="T82" fmla="*/ 20 w 2109"/>
                <a:gd name="T83" fmla="*/ 138 h 1540"/>
                <a:gd name="T84" fmla="*/ 17 w 2109"/>
                <a:gd name="T85" fmla="*/ 137 h 1540"/>
                <a:gd name="T86" fmla="*/ 16 w 2109"/>
                <a:gd name="T87" fmla="*/ 133 h 1540"/>
                <a:gd name="T88" fmla="*/ 15 w 2109"/>
                <a:gd name="T89" fmla="*/ 121 h 1540"/>
                <a:gd name="T90" fmla="*/ 15 w 2109"/>
                <a:gd name="T91" fmla="*/ 114 h 1540"/>
                <a:gd name="T92" fmla="*/ 14 w 2109"/>
                <a:gd name="T93" fmla="*/ 100 h 1540"/>
                <a:gd name="T94" fmla="*/ 14 w 2109"/>
                <a:gd name="T95" fmla="*/ 99 h 1540"/>
                <a:gd name="T96" fmla="*/ 14 w 2109"/>
                <a:gd name="T97" fmla="*/ 90 h 1540"/>
                <a:gd name="T98" fmla="*/ 15 w 2109"/>
                <a:gd name="T99" fmla="*/ 86 h 1540"/>
                <a:gd name="T100" fmla="*/ 15 w 2109"/>
                <a:gd name="T101" fmla="*/ 81 h 1540"/>
                <a:gd name="T102" fmla="*/ 13 w 2109"/>
                <a:gd name="T103" fmla="*/ 81 h 1540"/>
                <a:gd name="T104" fmla="*/ 12 w 2109"/>
                <a:gd name="T105" fmla="*/ 78 h 1540"/>
                <a:gd name="T106" fmla="*/ 11 w 2109"/>
                <a:gd name="T107" fmla="*/ 63 h 1540"/>
                <a:gd name="T108" fmla="*/ 8 w 2109"/>
                <a:gd name="T109" fmla="*/ 53 h 1540"/>
                <a:gd name="T110" fmla="*/ 5 w 2109"/>
                <a:gd name="T111" fmla="*/ 54 h 1540"/>
                <a:gd name="T112" fmla="*/ 1 w 2109"/>
                <a:gd name="T113" fmla="*/ 47 h 1540"/>
                <a:gd name="T114" fmla="*/ 4 w 2109"/>
                <a:gd name="T115" fmla="*/ 44 h 154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09"/>
                <a:gd name="T175" fmla="*/ 0 h 1540"/>
                <a:gd name="T176" fmla="*/ 2109 w 2109"/>
                <a:gd name="T177" fmla="*/ 1540 h 154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09" h="1540">
                  <a:moveTo>
                    <a:pt x="0" y="432"/>
                  </a:moveTo>
                  <a:lnTo>
                    <a:pt x="12" y="409"/>
                  </a:lnTo>
                  <a:lnTo>
                    <a:pt x="149" y="365"/>
                  </a:lnTo>
                  <a:lnTo>
                    <a:pt x="236" y="365"/>
                  </a:lnTo>
                  <a:lnTo>
                    <a:pt x="285" y="330"/>
                  </a:lnTo>
                  <a:lnTo>
                    <a:pt x="270" y="319"/>
                  </a:lnTo>
                  <a:lnTo>
                    <a:pt x="301" y="307"/>
                  </a:lnTo>
                  <a:lnTo>
                    <a:pt x="275" y="299"/>
                  </a:lnTo>
                  <a:lnTo>
                    <a:pt x="321" y="285"/>
                  </a:lnTo>
                  <a:lnTo>
                    <a:pt x="304" y="273"/>
                  </a:lnTo>
                  <a:lnTo>
                    <a:pt x="243" y="296"/>
                  </a:lnTo>
                  <a:lnTo>
                    <a:pt x="183" y="267"/>
                  </a:lnTo>
                  <a:lnTo>
                    <a:pt x="260" y="250"/>
                  </a:lnTo>
                  <a:lnTo>
                    <a:pt x="303" y="201"/>
                  </a:lnTo>
                  <a:lnTo>
                    <a:pt x="397" y="199"/>
                  </a:lnTo>
                  <a:lnTo>
                    <a:pt x="393" y="146"/>
                  </a:lnTo>
                  <a:lnTo>
                    <a:pt x="463" y="144"/>
                  </a:lnTo>
                  <a:lnTo>
                    <a:pt x="534" y="182"/>
                  </a:lnTo>
                  <a:lnTo>
                    <a:pt x="450" y="133"/>
                  </a:lnTo>
                  <a:lnTo>
                    <a:pt x="609" y="100"/>
                  </a:lnTo>
                  <a:lnTo>
                    <a:pt x="648" y="124"/>
                  </a:lnTo>
                  <a:lnTo>
                    <a:pt x="653" y="170"/>
                  </a:lnTo>
                  <a:lnTo>
                    <a:pt x="674" y="131"/>
                  </a:lnTo>
                  <a:lnTo>
                    <a:pt x="776" y="159"/>
                  </a:lnTo>
                  <a:lnTo>
                    <a:pt x="741" y="136"/>
                  </a:lnTo>
                  <a:lnTo>
                    <a:pt x="790" y="140"/>
                  </a:lnTo>
                  <a:lnTo>
                    <a:pt x="747" y="113"/>
                  </a:lnTo>
                  <a:lnTo>
                    <a:pt x="735" y="92"/>
                  </a:lnTo>
                  <a:lnTo>
                    <a:pt x="758" y="87"/>
                  </a:lnTo>
                  <a:lnTo>
                    <a:pt x="961" y="152"/>
                  </a:lnTo>
                  <a:lnTo>
                    <a:pt x="945" y="131"/>
                  </a:lnTo>
                  <a:lnTo>
                    <a:pt x="989" y="127"/>
                  </a:lnTo>
                  <a:lnTo>
                    <a:pt x="961" y="109"/>
                  </a:lnTo>
                  <a:lnTo>
                    <a:pt x="1029" y="113"/>
                  </a:lnTo>
                  <a:lnTo>
                    <a:pt x="921" y="66"/>
                  </a:lnTo>
                  <a:lnTo>
                    <a:pt x="1118" y="92"/>
                  </a:lnTo>
                  <a:lnTo>
                    <a:pt x="1074" y="65"/>
                  </a:lnTo>
                  <a:lnTo>
                    <a:pt x="957" y="60"/>
                  </a:lnTo>
                  <a:lnTo>
                    <a:pt x="996" y="58"/>
                  </a:lnTo>
                  <a:lnTo>
                    <a:pt x="924" y="34"/>
                  </a:lnTo>
                  <a:lnTo>
                    <a:pt x="1009" y="41"/>
                  </a:lnTo>
                  <a:lnTo>
                    <a:pt x="974" y="31"/>
                  </a:lnTo>
                  <a:lnTo>
                    <a:pt x="1012" y="23"/>
                  </a:lnTo>
                  <a:lnTo>
                    <a:pt x="1157" y="66"/>
                  </a:lnTo>
                  <a:lnTo>
                    <a:pt x="1141" y="50"/>
                  </a:lnTo>
                  <a:lnTo>
                    <a:pt x="1204" y="34"/>
                  </a:lnTo>
                  <a:lnTo>
                    <a:pt x="1151" y="31"/>
                  </a:lnTo>
                  <a:lnTo>
                    <a:pt x="1149" y="9"/>
                  </a:lnTo>
                  <a:lnTo>
                    <a:pt x="1185" y="0"/>
                  </a:lnTo>
                  <a:lnTo>
                    <a:pt x="1574" y="10"/>
                  </a:lnTo>
                  <a:lnTo>
                    <a:pt x="1602" y="22"/>
                  </a:lnTo>
                  <a:lnTo>
                    <a:pt x="1591" y="31"/>
                  </a:lnTo>
                  <a:lnTo>
                    <a:pt x="1329" y="33"/>
                  </a:lnTo>
                  <a:lnTo>
                    <a:pt x="1360" y="44"/>
                  </a:lnTo>
                  <a:lnTo>
                    <a:pt x="1258" y="58"/>
                  </a:lnTo>
                  <a:lnTo>
                    <a:pt x="1626" y="34"/>
                  </a:lnTo>
                  <a:lnTo>
                    <a:pt x="1640" y="55"/>
                  </a:lnTo>
                  <a:lnTo>
                    <a:pt x="1591" y="67"/>
                  </a:lnTo>
                  <a:lnTo>
                    <a:pt x="1675" y="59"/>
                  </a:lnTo>
                  <a:lnTo>
                    <a:pt x="1772" y="83"/>
                  </a:lnTo>
                  <a:lnTo>
                    <a:pt x="1626" y="124"/>
                  </a:lnTo>
                  <a:lnTo>
                    <a:pt x="1392" y="120"/>
                  </a:lnTo>
                  <a:lnTo>
                    <a:pt x="1448" y="127"/>
                  </a:lnTo>
                  <a:lnTo>
                    <a:pt x="1349" y="144"/>
                  </a:lnTo>
                  <a:lnTo>
                    <a:pt x="1349" y="165"/>
                  </a:lnTo>
                  <a:lnTo>
                    <a:pt x="1607" y="133"/>
                  </a:lnTo>
                  <a:lnTo>
                    <a:pt x="1628" y="146"/>
                  </a:lnTo>
                  <a:lnTo>
                    <a:pt x="1574" y="177"/>
                  </a:lnTo>
                  <a:lnTo>
                    <a:pt x="1740" y="127"/>
                  </a:lnTo>
                  <a:lnTo>
                    <a:pt x="1749" y="175"/>
                  </a:lnTo>
                  <a:lnTo>
                    <a:pt x="1668" y="258"/>
                  </a:lnTo>
                  <a:lnTo>
                    <a:pt x="1827" y="163"/>
                  </a:lnTo>
                  <a:lnTo>
                    <a:pt x="1824" y="177"/>
                  </a:lnTo>
                  <a:lnTo>
                    <a:pt x="1900" y="176"/>
                  </a:lnTo>
                  <a:lnTo>
                    <a:pt x="1924" y="144"/>
                  </a:lnTo>
                  <a:lnTo>
                    <a:pt x="2007" y="140"/>
                  </a:lnTo>
                  <a:lnTo>
                    <a:pt x="2109" y="168"/>
                  </a:lnTo>
                  <a:lnTo>
                    <a:pt x="2009" y="209"/>
                  </a:lnTo>
                  <a:lnTo>
                    <a:pt x="2015" y="226"/>
                  </a:lnTo>
                  <a:lnTo>
                    <a:pt x="1787" y="250"/>
                  </a:lnTo>
                  <a:lnTo>
                    <a:pt x="1969" y="252"/>
                  </a:lnTo>
                  <a:lnTo>
                    <a:pt x="1820" y="286"/>
                  </a:lnTo>
                  <a:lnTo>
                    <a:pt x="1829" y="312"/>
                  </a:lnTo>
                  <a:lnTo>
                    <a:pt x="1930" y="286"/>
                  </a:lnTo>
                  <a:lnTo>
                    <a:pt x="1856" y="319"/>
                  </a:lnTo>
                  <a:lnTo>
                    <a:pt x="1847" y="361"/>
                  </a:lnTo>
                  <a:lnTo>
                    <a:pt x="1871" y="350"/>
                  </a:lnTo>
                  <a:lnTo>
                    <a:pt x="1801" y="388"/>
                  </a:lnTo>
                  <a:lnTo>
                    <a:pt x="1776" y="466"/>
                  </a:lnTo>
                  <a:lnTo>
                    <a:pt x="1813" y="449"/>
                  </a:lnTo>
                  <a:lnTo>
                    <a:pt x="1866" y="466"/>
                  </a:lnTo>
                  <a:lnTo>
                    <a:pt x="1818" y="466"/>
                  </a:lnTo>
                  <a:lnTo>
                    <a:pt x="1818" y="489"/>
                  </a:lnTo>
                  <a:lnTo>
                    <a:pt x="1898" y="499"/>
                  </a:lnTo>
                  <a:lnTo>
                    <a:pt x="1900" y="527"/>
                  </a:lnTo>
                  <a:lnTo>
                    <a:pt x="1780" y="522"/>
                  </a:lnTo>
                  <a:lnTo>
                    <a:pt x="1813" y="535"/>
                  </a:lnTo>
                  <a:lnTo>
                    <a:pt x="1746" y="543"/>
                  </a:lnTo>
                  <a:lnTo>
                    <a:pt x="1780" y="575"/>
                  </a:lnTo>
                  <a:lnTo>
                    <a:pt x="1842" y="576"/>
                  </a:lnTo>
                  <a:lnTo>
                    <a:pt x="1805" y="595"/>
                  </a:lnTo>
                  <a:lnTo>
                    <a:pt x="1854" y="612"/>
                  </a:lnTo>
                  <a:lnTo>
                    <a:pt x="1853" y="652"/>
                  </a:lnTo>
                  <a:lnTo>
                    <a:pt x="1763" y="628"/>
                  </a:lnTo>
                  <a:lnTo>
                    <a:pt x="1816" y="650"/>
                  </a:lnTo>
                  <a:lnTo>
                    <a:pt x="1784" y="663"/>
                  </a:lnTo>
                  <a:lnTo>
                    <a:pt x="1813" y="661"/>
                  </a:lnTo>
                  <a:lnTo>
                    <a:pt x="1805" y="686"/>
                  </a:lnTo>
                  <a:lnTo>
                    <a:pt x="1870" y="700"/>
                  </a:lnTo>
                  <a:lnTo>
                    <a:pt x="1768" y="692"/>
                  </a:lnTo>
                  <a:lnTo>
                    <a:pt x="1749" y="706"/>
                  </a:lnTo>
                  <a:lnTo>
                    <a:pt x="1827" y="738"/>
                  </a:lnTo>
                  <a:lnTo>
                    <a:pt x="1816" y="764"/>
                  </a:lnTo>
                  <a:lnTo>
                    <a:pt x="1754" y="780"/>
                  </a:lnTo>
                  <a:lnTo>
                    <a:pt x="1692" y="742"/>
                  </a:lnTo>
                  <a:lnTo>
                    <a:pt x="1599" y="776"/>
                  </a:lnTo>
                  <a:lnTo>
                    <a:pt x="1665" y="795"/>
                  </a:lnTo>
                  <a:lnTo>
                    <a:pt x="1602" y="813"/>
                  </a:lnTo>
                  <a:lnTo>
                    <a:pt x="1670" y="816"/>
                  </a:lnTo>
                  <a:lnTo>
                    <a:pt x="1648" y="855"/>
                  </a:lnTo>
                  <a:lnTo>
                    <a:pt x="1675" y="832"/>
                  </a:lnTo>
                  <a:lnTo>
                    <a:pt x="1749" y="864"/>
                  </a:lnTo>
                  <a:lnTo>
                    <a:pt x="1727" y="889"/>
                  </a:lnTo>
                  <a:lnTo>
                    <a:pt x="1768" y="879"/>
                  </a:lnTo>
                  <a:lnTo>
                    <a:pt x="1749" y="906"/>
                  </a:lnTo>
                  <a:lnTo>
                    <a:pt x="1778" y="894"/>
                  </a:lnTo>
                  <a:lnTo>
                    <a:pt x="1782" y="959"/>
                  </a:lnTo>
                  <a:lnTo>
                    <a:pt x="1749" y="934"/>
                  </a:lnTo>
                  <a:lnTo>
                    <a:pt x="1749" y="959"/>
                  </a:lnTo>
                  <a:lnTo>
                    <a:pt x="1717" y="958"/>
                  </a:lnTo>
                  <a:lnTo>
                    <a:pt x="1675" y="904"/>
                  </a:lnTo>
                  <a:lnTo>
                    <a:pt x="1575" y="873"/>
                  </a:lnTo>
                  <a:lnTo>
                    <a:pt x="1645" y="909"/>
                  </a:lnTo>
                  <a:lnTo>
                    <a:pt x="1552" y="928"/>
                  </a:lnTo>
                  <a:lnTo>
                    <a:pt x="1526" y="959"/>
                  </a:lnTo>
                  <a:lnTo>
                    <a:pt x="1612" y="966"/>
                  </a:lnTo>
                  <a:lnTo>
                    <a:pt x="1540" y="985"/>
                  </a:lnTo>
                  <a:lnTo>
                    <a:pt x="1650" y="963"/>
                  </a:lnTo>
                  <a:lnTo>
                    <a:pt x="1756" y="991"/>
                  </a:lnTo>
                  <a:lnTo>
                    <a:pt x="1618" y="1067"/>
                  </a:lnTo>
                  <a:lnTo>
                    <a:pt x="1483" y="1100"/>
                  </a:lnTo>
                  <a:lnTo>
                    <a:pt x="1434" y="1102"/>
                  </a:lnTo>
                  <a:lnTo>
                    <a:pt x="1404" y="1068"/>
                  </a:lnTo>
                  <a:lnTo>
                    <a:pt x="1420" y="1102"/>
                  </a:lnTo>
                  <a:lnTo>
                    <a:pt x="1379" y="1122"/>
                  </a:lnTo>
                  <a:lnTo>
                    <a:pt x="1329" y="1204"/>
                  </a:lnTo>
                  <a:lnTo>
                    <a:pt x="1288" y="1202"/>
                  </a:lnTo>
                  <a:lnTo>
                    <a:pt x="1279" y="1227"/>
                  </a:lnTo>
                  <a:lnTo>
                    <a:pt x="1239" y="1230"/>
                  </a:lnTo>
                  <a:lnTo>
                    <a:pt x="1219" y="1222"/>
                  </a:lnTo>
                  <a:lnTo>
                    <a:pt x="1246" y="1205"/>
                  </a:lnTo>
                  <a:lnTo>
                    <a:pt x="1218" y="1202"/>
                  </a:lnTo>
                  <a:lnTo>
                    <a:pt x="1203" y="1244"/>
                  </a:lnTo>
                  <a:lnTo>
                    <a:pt x="1140" y="1248"/>
                  </a:lnTo>
                  <a:lnTo>
                    <a:pt x="1141" y="1281"/>
                  </a:lnTo>
                  <a:lnTo>
                    <a:pt x="1102" y="1284"/>
                  </a:lnTo>
                  <a:lnTo>
                    <a:pt x="1136" y="1311"/>
                  </a:lnTo>
                  <a:lnTo>
                    <a:pt x="1091" y="1316"/>
                  </a:lnTo>
                  <a:lnTo>
                    <a:pt x="1126" y="1347"/>
                  </a:lnTo>
                  <a:lnTo>
                    <a:pt x="1094" y="1347"/>
                  </a:lnTo>
                  <a:lnTo>
                    <a:pt x="1119" y="1354"/>
                  </a:lnTo>
                  <a:lnTo>
                    <a:pt x="1094" y="1387"/>
                  </a:lnTo>
                  <a:lnTo>
                    <a:pt x="1074" y="1381"/>
                  </a:lnTo>
                  <a:lnTo>
                    <a:pt x="1091" y="1396"/>
                  </a:lnTo>
                  <a:lnTo>
                    <a:pt x="1048" y="1408"/>
                  </a:lnTo>
                  <a:lnTo>
                    <a:pt x="1074" y="1454"/>
                  </a:lnTo>
                  <a:lnTo>
                    <a:pt x="1048" y="1517"/>
                  </a:lnTo>
                  <a:lnTo>
                    <a:pt x="1016" y="1518"/>
                  </a:lnTo>
                  <a:lnTo>
                    <a:pt x="1040" y="1540"/>
                  </a:lnTo>
                  <a:lnTo>
                    <a:pt x="970" y="1540"/>
                  </a:lnTo>
                  <a:lnTo>
                    <a:pt x="961" y="1498"/>
                  </a:lnTo>
                  <a:lnTo>
                    <a:pt x="862" y="1503"/>
                  </a:lnTo>
                  <a:lnTo>
                    <a:pt x="885" y="1492"/>
                  </a:lnTo>
                  <a:lnTo>
                    <a:pt x="834" y="1475"/>
                  </a:lnTo>
                  <a:lnTo>
                    <a:pt x="859" y="1468"/>
                  </a:lnTo>
                  <a:lnTo>
                    <a:pt x="822" y="1468"/>
                  </a:lnTo>
                  <a:lnTo>
                    <a:pt x="835" y="1435"/>
                  </a:lnTo>
                  <a:lnTo>
                    <a:pt x="813" y="1442"/>
                  </a:lnTo>
                  <a:lnTo>
                    <a:pt x="747" y="1354"/>
                  </a:lnTo>
                  <a:lnTo>
                    <a:pt x="747" y="1327"/>
                  </a:lnTo>
                  <a:lnTo>
                    <a:pt x="796" y="1298"/>
                  </a:lnTo>
                  <a:lnTo>
                    <a:pt x="776" y="1289"/>
                  </a:lnTo>
                  <a:lnTo>
                    <a:pt x="726" y="1322"/>
                  </a:lnTo>
                  <a:lnTo>
                    <a:pt x="726" y="1256"/>
                  </a:lnTo>
                  <a:lnTo>
                    <a:pt x="680" y="1222"/>
                  </a:lnTo>
                  <a:lnTo>
                    <a:pt x="693" y="1169"/>
                  </a:lnTo>
                  <a:lnTo>
                    <a:pt x="665" y="1150"/>
                  </a:lnTo>
                  <a:lnTo>
                    <a:pt x="703" y="1104"/>
                  </a:lnTo>
                  <a:lnTo>
                    <a:pt x="680" y="1100"/>
                  </a:lnTo>
                  <a:lnTo>
                    <a:pt x="764" y="1100"/>
                  </a:lnTo>
                  <a:lnTo>
                    <a:pt x="756" y="1082"/>
                  </a:lnTo>
                  <a:lnTo>
                    <a:pt x="699" y="1084"/>
                  </a:lnTo>
                  <a:lnTo>
                    <a:pt x="785" y="1043"/>
                  </a:lnTo>
                  <a:lnTo>
                    <a:pt x="764" y="1030"/>
                  </a:lnTo>
                  <a:lnTo>
                    <a:pt x="785" y="985"/>
                  </a:lnTo>
                  <a:lnTo>
                    <a:pt x="715" y="983"/>
                  </a:lnTo>
                  <a:lnTo>
                    <a:pt x="637" y="947"/>
                  </a:lnTo>
                  <a:lnTo>
                    <a:pt x="776" y="966"/>
                  </a:lnTo>
                  <a:lnTo>
                    <a:pt x="752" y="950"/>
                  </a:lnTo>
                  <a:lnTo>
                    <a:pt x="776" y="943"/>
                  </a:lnTo>
                  <a:lnTo>
                    <a:pt x="721" y="916"/>
                  </a:lnTo>
                  <a:lnTo>
                    <a:pt x="741" y="904"/>
                  </a:lnTo>
                  <a:lnTo>
                    <a:pt x="711" y="914"/>
                  </a:lnTo>
                  <a:lnTo>
                    <a:pt x="730" y="895"/>
                  </a:lnTo>
                  <a:lnTo>
                    <a:pt x="694" y="897"/>
                  </a:lnTo>
                  <a:lnTo>
                    <a:pt x="735" y="882"/>
                  </a:lnTo>
                  <a:lnTo>
                    <a:pt x="674" y="861"/>
                  </a:lnTo>
                  <a:lnTo>
                    <a:pt x="660" y="895"/>
                  </a:lnTo>
                  <a:lnTo>
                    <a:pt x="609" y="897"/>
                  </a:lnTo>
                  <a:lnTo>
                    <a:pt x="599" y="882"/>
                  </a:lnTo>
                  <a:lnTo>
                    <a:pt x="633" y="861"/>
                  </a:lnTo>
                  <a:lnTo>
                    <a:pt x="606" y="861"/>
                  </a:lnTo>
                  <a:lnTo>
                    <a:pt x="637" y="804"/>
                  </a:lnTo>
                  <a:lnTo>
                    <a:pt x="601" y="794"/>
                  </a:lnTo>
                  <a:lnTo>
                    <a:pt x="619" y="768"/>
                  </a:lnTo>
                  <a:lnTo>
                    <a:pt x="562" y="697"/>
                  </a:lnTo>
                  <a:lnTo>
                    <a:pt x="581" y="696"/>
                  </a:lnTo>
                  <a:lnTo>
                    <a:pt x="504" y="635"/>
                  </a:lnTo>
                  <a:lnTo>
                    <a:pt x="504" y="612"/>
                  </a:lnTo>
                  <a:lnTo>
                    <a:pt x="419" y="582"/>
                  </a:lnTo>
                  <a:lnTo>
                    <a:pt x="340" y="565"/>
                  </a:lnTo>
                  <a:lnTo>
                    <a:pt x="269" y="593"/>
                  </a:lnTo>
                  <a:lnTo>
                    <a:pt x="210" y="575"/>
                  </a:lnTo>
                  <a:lnTo>
                    <a:pt x="232" y="598"/>
                  </a:lnTo>
                  <a:lnTo>
                    <a:pt x="170" y="587"/>
                  </a:lnTo>
                  <a:lnTo>
                    <a:pt x="117" y="564"/>
                  </a:lnTo>
                  <a:lnTo>
                    <a:pt x="170" y="543"/>
                  </a:lnTo>
                  <a:lnTo>
                    <a:pt x="53" y="522"/>
                  </a:lnTo>
                  <a:lnTo>
                    <a:pt x="96" y="502"/>
                  </a:lnTo>
                  <a:lnTo>
                    <a:pt x="236" y="508"/>
                  </a:lnTo>
                  <a:lnTo>
                    <a:pt x="253" y="500"/>
                  </a:lnTo>
                  <a:lnTo>
                    <a:pt x="228" y="488"/>
                  </a:lnTo>
                  <a:lnTo>
                    <a:pt x="252" y="476"/>
                  </a:lnTo>
                  <a:lnTo>
                    <a:pt x="126" y="484"/>
                  </a:lnTo>
                  <a:lnTo>
                    <a:pt x="0" y="43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4" name="Freeform 76"/>
            <p:cNvSpPr>
              <a:spLocks noChangeAspect="1"/>
            </p:cNvSpPr>
            <p:nvPr/>
          </p:nvSpPr>
          <p:spPr bwMode="gray">
            <a:xfrm>
              <a:off x="1952037" y="3750697"/>
              <a:ext cx="98012" cy="129407"/>
            </a:xfrm>
            <a:custGeom>
              <a:avLst/>
              <a:gdLst>
                <a:gd name="T0" fmla="*/ 0 w 137"/>
                <a:gd name="T1" fmla="*/ 10 h 150"/>
                <a:gd name="T2" fmla="*/ 0 w 137"/>
                <a:gd name="T3" fmla="*/ 6 h 150"/>
                <a:gd name="T4" fmla="*/ 1 w 137"/>
                <a:gd name="T5" fmla="*/ 6 h 150"/>
                <a:gd name="T6" fmla="*/ 0 w 137"/>
                <a:gd name="T7" fmla="*/ 2 h 150"/>
                <a:gd name="T8" fmla="*/ 2 w 137"/>
                <a:gd name="T9" fmla="*/ 0 h 150"/>
                <a:gd name="T10" fmla="*/ 2 w 137"/>
                <a:gd name="T11" fmla="*/ 6 h 150"/>
                <a:gd name="T12" fmla="*/ 2 w 137"/>
                <a:gd name="T13" fmla="*/ 7 h 150"/>
                <a:gd name="T14" fmla="*/ 2 w 137"/>
                <a:gd name="T15" fmla="*/ 11 h 150"/>
                <a:gd name="T16" fmla="*/ 1 w 137"/>
                <a:gd name="T17" fmla="*/ 13 h 150"/>
                <a:gd name="T18" fmla="*/ 0 w 137"/>
                <a:gd name="T19" fmla="*/ 10 h 15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7"/>
                <a:gd name="T31" fmla="*/ 0 h 150"/>
                <a:gd name="T32" fmla="*/ 137 w 137"/>
                <a:gd name="T33" fmla="*/ 150 h 15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7" h="150">
                  <a:moveTo>
                    <a:pt x="0" y="121"/>
                  </a:moveTo>
                  <a:lnTo>
                    <a:pt x="30" y="66"/>
                  </a:lnTo>
                  <a:lnTo>
                    <a:pt x="65" y="65"/>
                  </a:lnTo>
                  <a:lnTo>
                    <a:pt x="27" y="19"/>
                  </a:lnTo>
                  <a:lnTo>
                    <a:pt x="108" y="0"/>
                  </a:lnTo>
                  <a:lnTo>
                    <a:pt x="119" y="72"/>
                  </a:lnTo>
                  <a:lnTo>
                    <a:pt x="137" y="78"/>
                  </a:lnTo>
                  <a:lnTo>
                    <a:pt x="101" y="123"/>
                  </a:lnTo>
                  <a:lnTo>
                    <a:pt x="77" y="150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5" name="Freeform 77"/>
            <p:cNvSpPr>
              <a:spLocks noChangeAspect="1"/>
            </p:cNvSpPr>
            <p:nvPr/>
          </p:nvSpPr>
          <p:spPr bwMode="gray">
            <a:xfrm>
              <a:off x="2730010" y="4047670"/>
              <a:ext cx="117921" cy="197429"/>
            </a:xfrm>
            <a:custGeom>
              <a:avLst/>
              <a:gdLst>
                <a:gd name="T0" fmla="*/ 0 w 166"/>
                <a:gd name="T1" fmla="*/ 5 h 236"/>
                <a:gd name="T2" fmla="*/ 0 w 166"/>
                <a:gd name="T3" fmla="*/ 6 h 236"/>
                <a:gd name="T4" fmla="*/ 1 w 166"/>
                <a:gd name="T5" fmla="*/ 8 h 236"/>
                <a:gd name="T6" fmla="*/ 1 w 166"/>
                <a:gd name="T7" fmla="*/ 11 h 236"/>
                <a:gd name="T8" fmla="*/ 1 w 166"/>
                <a:gd name="T9" fmla="*/ 13 h 236"/>
                <a:gd name="T10" fmla="*/ 3 w 166"/>
                <a:gd name="T11" fmla="*/ 12 h 236"/>
                <a:gd name="T12" fmla="*/ 2 w 166"/>
                <a:gd name="T13" fmla="*/ 8 h 236"/>
                <a:gd name="T14" fmla="*/ 2 w 166"/>
                <a:gd name="T15" fmla="*/ 5 h 236"/>
                <a:gd name="T16" fmla="*/ 1 w 166"/>
                <a:gd name="T17" fmla="*/ 0 h 236"/>
                <a:gd name="T18" fmla="*/ 0 w 166"/>
                <a:gd name="T19" fmla="*/ 2 h 236"/>
                <a:gd name="T20" fmla="*/ 0 w 166"/>
                <a:gd name="T21" fmla="*/ 3 h 236"/>
                <a:gd name="T22" fmla="*/ 0 w 166"/>
                <a:gd name="T23" fmla="*/ 5 h 2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6"/>
                <a:gd name="T37" fmla="*/ 0 h 236"/>
                <a:gd name="T38" fmla="*/ 166 w 166"/>
                <a:gd name="T39" fmla="*/ 236 h 2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6" h="236">
                  <a:moveTo>
                    <a:pt x="0" y="77"/>
                  </a:moveTo>
                  <a:lnTo>
                    <a:pt x="24" y="110"/>
                  </a:lnTo>
                  <a:lnTo>
                    <a:pt x="56" y="135"/>
                  </a:lnTo>
                  <a:lnTo>
                    <a:pt x="49" y="201"/>
                  </a:lnTo>
                  <a:lnTo>
                    <a:pt x="67" y="236"/>
                  </a:lnTo>
                  <a:lnTo>
                    <a:pt x="166" y="222"/>
                  </a:lnTo>
                  <a:lnTo>
                    <a:pt x="110" y="149"/>
                  </a:lnTo>
                  <a:lnTo>
                    <a:pt x="149" y="86"/>
                  </a:lnTo>
                  <a:lnTo>
                    <a:pt x="50" y="0"/>
                  </a:lnTo>
                  <a:lnTo>
                    <a:pt x="17" y="25"/>
                  </a:lnTo>
                  <a:lnTo>
                    <a:pt x="31" y="48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6" name="Freeform 78"/>
            <p:cNvSpPr>
              <a:spLocks noChangeAspect="1"/>
            </p:cNvSpPr>
            <p:nvPr/>
          </p:nvSpPr>
          <p:spPr bwMode="gray">
            <a:xfrm>
              <a:off x="2396155" y="3692630"/>
              <a:ext cx="64321" cy="56408"/>
            </a:xfrm>
            <a:custGeom>
              <a:avLst/>
              <a:gdLst>
                <a:gd name="T0" fmla="*/ 0 w 90"/>
                <a:gd name="T1" fmla="*/ 4 h 66"/>
                <a:gd name="T2" fmla="*/ 1 w 90"/>
                <a:gd name="T3" fmla="*/ 4 h 66"/>
                <a:gd name="T4" fmla="*/ 0 w 90"/>
                <a:gd name="T5" fmla="*/ 1 h 66"/>
                <a:gd name="T6" fmla="*/ 1 w 90"/>
                <a:gd name="T7" fmla="*/ 0 h 66"/>
                <a:gd name="T8" fmla="*/ 1 w 90"/>
                <a:gd name="T9" fmla="*/ 5 h 66"/>
                <a:gd name="T10" fmla="*/ 0 w 90"/>
                <a:gd name="T11" fmla="*/ 4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0"/>
                <a:gd name="T19" fmla="*/ 0 h 66"/>
                <a:gd name="T20" fmla="*/ 90 w 90"/>
                <a:gd name="T21" fmla="*/ 66 h 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0" h="66">
                  <a:moveTo>
                    <a:pt x="0" y="49"/>
                  </a:moveTo>
                  <a:lnTo>
                    <a:pt x="68" y="48"/>
                  </a:lnTo>
                  <a:lnTo>
                    <a:pt x="36" y="5"/>
                  </a:lnTo>
                  <a:lnTo>
                    <a:pt x="90" y="0"/>
                  </a:lnTo>
                  <a:lnTo>
                    <a:pt x="90" y="66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7" name="Freeform 79"/>
            <p:cNvSpPr>
              <a:spLocks noChangeAspect="1"/>
            </p:cNvSpPr>
            <p:nvPr/>
          </p:nvSpPr>
          <p:spPr bwMode="gray">
            <a:xfrm>
              <a:off x="2024014" y="3812083"/>
              <a:ext cx="150082" cy="91249"/>
            </a:xfrm>
            <a:custGeom>
              <a:avLst/>
              <a:gdLst>
                <a:gd name="T0" fmla="*/ 0 w 211"/>
                <a:gd name="T1" fmla="*/ 6 h 104"/>
                <a:gd name="T2" fmla="*/ 0 w 211"/>
                <a:gd name="T3" fmla="*/ 1 h 104"/>
                <a:gd name="T4" fmla="*/ 2 w 211"/>
                <a:gd name="T5" fmla="*/ 0 h 104"/>
                <a:gd name="T6" fmla="*/ 3 w 211"/>
                <a:gd name="T7" fmla="*/ 4 h 104"/>
                <a:gd name="T8" fmla="*/ 3 w 211"/>
                <a:gd name="T9" fmla="*/ 4 h 104"/>
                <a:gd name="T10" fmla="*/ 1 w 211"/>
                <a:gd name="T11" fmla="*/ 12 h 104"/>
                <a:gd name="T12" fmla="*/ 1 w 211"/>
                <a:gd name="T13" fmla="*/ 10 h 104"/>
                <a:gd name="T14" fmla="*/ 0 w 211"/>
                <a:gd name="T15" fmla="*/ 6 h 10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1"/>
                <a:gd name="T25" fmla="*/ 0 h 104"/>
                <a:gd name="T26" fmla="*/ 211 w 211"/>
                <a:gd name="T27" fmla="*/ 104 h 10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1" h="104">
                  <a:moveTo>
                    <a:pt x="0" y="51"/>
                  </a:moveTo>
                  <a:lnTo>
                    <a:pt x="36" y="6"/>
                  </a:lnTo>
                  <a:lnTo>
                    <a:pt x="151" y="0"/>
                  </a:lnTo>
                  <a:lnTo>
                    <a:pt x="211" y="32"/>
                  </a:lnTo>
                  <a:lnTo>
                    <a:pt x="161" y="38"/>
                  </a:lnTo>
                  <a:lnTo>
                    <a:pt x="73" y="104"/>
                  </a:lnTo>
                  <a:lnTo>
                    <a:pt x="57" y="87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8" name="Freeform 80"/>
            <p:cNvSpPr>
              <a:spLocks noChangeAspect="1"/>
            </p:cNvSpPr>
            <p:nvPr/>
          </p:nvSpPr>
          <p:spPr bwMode="gray">
            <a:xfrm>
              <a:off x="4661161" y="2717100"/>
              <a:ext cx="163864" cy="106180"/>
            </a:xfrm>
            <a:custGeom>
              <a:avLst/>
              <a:gdLst>
                <a:gd name="T0" fmla="*/ 0 w 232"/>
                <a:gd name="T1" fmla="*/ 8 h 121"/>
                <a:gd name="T2" fmla="*/ 0 w 232"/>
                <a:gd name="T3" fmla="*/ 2 h 121"/>
                <a:gd name="T4" fmla="*/ 1 w 232"/>
                <a:gd name="T5" fmla="*/ 4 h 121"/>
                <a:gd name="T6" fmla="*/ 2 w 232"/>
                <a:gd name="T7" fmla="*/ 0 h 121"/>
                <a:gd name="T8" fmla="*/ 3 w 232"/>
                <a:gd name="T9" fmla="*/ 1 h 121"/>
                <a:gd name="T10" fmla="*/ 3 w 232"/>
                <a:gd name="T11" fmla="*/ 3 h 121"/>
                <a:gd name="T12" fmla="*/ 2 w 232"/>
                <a:gd name="T13" fmla="*/ 12 h 121"/>
                <a:gd name="T14" fmla="*/ 1 w 232"/>
                <a:gd name="T15" fmla="*/ 14 h 121"/>
                <a:gd name="T16" fmla="*/ 0 w 232"/>
                <a:gd name="T17" fmla="*/ 8 h 1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32"/>
                <a:gd name="T28" fmla="*/ 0 h 121"/>
                <a:gd name="T29" fmla="*/ 232 w 232"/>
                <a:gd name="T30" fmla="*/ 121 h 1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32" h="121">
                  <a:moveTo>
                    <a:pt x="0" y="71"/>
                  </a:moveTo>
                  <a:lnTo>
                    <a:pt x="35" y="20"/>
                  </a:lnTo>
                  <a:lnTo>
                    <a:pt x="82" y="35"/>
                  </a:lnTo>
                  <a:lnTo>
                    <a:pt x="162" y="0"/>
                  </a:lnTo>
                  <a:lnTo>
                    <a:pt x="209" y="8"/>
                  </a:lnTo>
                  <a:lnTo>
                    <a:pt x="232" y="26"/>
                  </a:lnTo>
                  <a:lnTo>
                    <a:pt x="143" y="107"/>
                  </a:lnTo>
                  <a:lnTo>
                    <a:pt x="67" y="12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79" name="Freeform 81"/>
            <p:cNvSpPr>
              <a:spLocks noChangeAspect="1"/>
            </p:cNvSpPr>
            <p:nvPr/>
          </p:nvSpPr>
          <p:spPr bwMode="gray">
            <a:xfrm>
              <a:off x="3644282" y="1938999"/>
              <a:ext cx="277191" cy="150975"/>
            </a:xfrm>
            <a:custGeom>
              <a:avLst/>
              <a:gdLst>
                <a:gd name="T0" fmla="*/ 0 w 381"/>
                <a:gd name="T1" fmla="*/ 6 h 174"/>
                <a:gd name="T2" fmla="*/ 0 w 381"/>
                <a:gd name="T3" fmla="*/ 5 h 174"/>
                <a:gd name="T4" fmla="*/ 0 w 381"/>
                <a:gd name="T5" fmla="*/ 4 h 174"/>
                <a:gd name="T6" fmla="*/ 1 w 381"/>
                <a:gd name="T7" fmla="*/ 4 h 174"/>
                <a:gd name="T8" fmla="*/ 0 w 381"/>
                <a:gd name="T9" fmla="*/ 2 h 174"/>
                <a:gd name="T10" fmla="*/ 1 w 381"/>
                <a:gd name="T11" fmla="*/ 4 h 174"/>
                <a:gd name="T12" fmla="*/ 1 w 381"/>
                <a:gd name="T13" fmla="*/ 1 h 174"/>
                <a:gd name="T14" fmla="*/ 2 w 381"/>
                <a:gd name="T15" fmla="*/ 3 h 174"/>
                <a:gd name="T16" fmla="*/ 2 w 381"/>
                <a:gd name="T17" fmla="*/ 7 h 174"/>
                <a:gd name="T18" fmla="*/ 3 w 381"/>
                <a:gd name="T19" fmla="*/ 2 h 174"/>
                <a:gd name="T20" fmla="*/ 4 w 381"/>
                <a:gd name="T21" fmla="*/ 4 h 174"/>
                <a:gd name="T22" fmla="*/ 4 w 381"/>
                <a:gd name="T23" fmla="*/ 2 h 174"/>
                <a:gd name="T24" fmla="*/ 5 w 381"/>
                <a:gd name="T25" fmla="*/ 5 h 174"/>
                <a:gd name="T26" fmla="*/ 5 w 381"/>
                <a:gd name="T27" fmla="*/ 2 h 174"/>
                <a:gd name="T28" fmla="*/ 6 w 381"/>
                <a:gd name="T29" fmla="*/ 2 h 174"/>
                <a:gd name="T30" fmla="*/ 7 w 381"/>
                <a:gd name="T31" fmla="*/ 0 h 174"/>
                <a:gd name="T32" fmla="*/ 7 w 381"/>
                <a:gd name="T33" fmla="*/ 2 h 174"/>
                <a:gd name="T34" fmla="*/ 8 w 381"/>
                <a:gd name="T35" fmla="*/ 1 h 174"/>
                <a:gd name="T36" fmla="*/ 7 w 381"/>
                <a:gd name="T37" fmla="*/ 2 h 174"/>
                <a:gd name="T38" fmla="*/ 9 w 381"/>
                <a:gd name="T39" fmla="*/ 7 h 174"/>
                <a:gd name="T40" fmla="*/ 8 w 381"/>
                <a:gd name="T41" fmla="*/ 12 h 174"/>
                <a:gd name="T42" fmla="*/ 4 w 381"/>
                <a:gd name="T43" fmla="*/ 17 h 174"/>
                <a:gd name="T44" fmla="*/ 1 w 381"/>
                <a:gd name="T45" fmla="*/ 15 h 174"/>
                <a:gd name="T46" fmla="*/ 2 w 381"/>
                <a:gd name="T47" fmla="*/ 10 h 174"/>
                <a:gd name="T48" fmla="*/ 0 w 381"/>
                <a:gd name="T49" fmla="*/ 9 h 174"/>
                <a:gd name="T50" fmla="*/ 2 w 381"/>
                <a:gd name="T51" fmla="*/ 8 h 174"/>
                <a:gd name="T52" fmla="*/ 1 w 381"/>
                <a:gd name="T53" fmla="*/ 7 h 174"/>
                <a:gd name="T54" fmla="*/ 2 w 381"/>
                <a:gd name="T55" fmla="*/ 6 h 174"/>
                <a:gd name="T56" fmla="*/ 0 w 381"/>
                <a:gd name="T57" fmla="*/ 6 h 17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81"/>
                <a:gd name="T88" fmla="*/ 0 h 174"/>
                <a:gd name="T89" fmla="*/ 381 w 381"/>
                <a:gd name="T90" fmla="*/ 174 h 17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81" h="174">
                  <a:moveTo>
                    <a:pt x="0" y="62"/>
                  </a:moveTo>
                  <a:lnTo>
                    <a:pt x="24" y="53"/>
                  </a:lnTo>
                  <a:lnTo>
                    <a:pt x="10" y="37"/>
                  </a:lnTo>
                  <a:lnTo>
                    <a:pt x="43" y="47"/>
                  </a:lnTo>
                  <a:lnTo>
                    <a:pt x="28" y="19"/>
                  </a:lnTo>
                  <a:lnTo>
                    <a:pt x="65" y="36"/>
                  </a:lnTo>
                  <a:lnTo>
                    <a:pt x="46" y="2"/>
                  </a:lnTo>
                  <a:lnTo>
                    <a:pt x="106" y="29"/>
                  </a:lnTo>
                  <a:lnTo>
                    <a:pt x="111" y="74"/>
                  </a:lnTo>
                  <a:lnTo>
                    <a:pt x="143" y="24"/>
                  </a:lnTo>
                  <a:lnTo>
                    <a:pt x="174" y="42"/>
                  </a:lnTo>
                  <a:lnTo>
                    <a:pt x="198" y="18"/>
                  </a:lnTo>
                  <a:lnTo>
                    <a:pt x="220" y="50"/>
                  </a:lnTo>
                  <a:lnTo>
                    <a:pt x="214" y="19"/>
                  </a:lnTo>
                  <a:lnTo>
                    <a:pt x="276" y="19"/>
                  </a:lnTo>
                  <a:lnTo>
                    <a:pt x="285" y="0"/>
                  </a:lnTo>
                  <a:lnTo>
                    <a:pt x="313" y="18"/>
                  </a:lnTo>
                  <a:lnTo>
                    <a:pt x="347" y="11"/>
                  </a:lnTo>
                  <a:lnTo>
                    <a:pt x="323" y="24"/>
                  </a:lnTo>
                  <a:lnTo>
                    <a:pt x="381" y="79"/>
                  </a:lnTo>
                  <a:lnTo>
                    <a:pt x="331" y="128"/>
                  </a:lnTo>
                  <a:lnTo>
                    <a:pt x="189" y="174"/>
                  </a:lnTo>
                  <a:lnTo>
                    <a:pt x="63" y="154"/>
                  </a:lnTo>
                  <a:lnTo>
                    <a:pt x="94" y="108"/>
                  </a:lnTo>
                  <a:lnTo>
                    <a:pt x="19" y="92"/>
                  </a:lnTo>
                  <a:lnTo>
                    <a:pt x="92" y="88"/>
                  </a:lnTo>
                  <a:lnTo>
                    <a:pt x="65" y="75"/>
                  </a:lnTo>
                  <a:lnTo>
                    <a:pt x="93" y="62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0" name="Freeform 82"/>
            <p:cNvSpPr>
              <a:spLocks noChangeAspect="1"/>
            </p:cNvSpPr>
            <p:nvPr/>
          </p:nvSpPr>
          <p:spPr bwMode="gray">
            <a:xfrm>
              <a:off x="5959825" y="3170025"/>
              <a:ext cx="732030" cy="879304"/>
            </a:xfrm>
            <a:custGeom>
              <a:avLst/>
              <a:gdLst>
                <a:gd name="T0" fmla="*/ 0 w 1020"/>
                <a:gd name="T1" fmla="*/ 43 h 1015"/>
                <a:gd name="T2" fmla="*/ 0 w 1020"/>
                <a:gd name="T3" fmla="*/ 41 h 1015"/>
                <a:gd name="T4" fmla="*/ 2 w 1020"/>
                <a:gd name="T5" fmla="*/ 41 h 1015"/>
                <a:gd name="T6" fmla="*/ 1 w 1020"/>
                <a:gd name="T7" fmla="*/ 31 h 1015"/>
                <a:gd name="T8" fmla="*/ 1 w 1020"/>
                <a:gd name="T9" fmla="*/ 28 h 1015"/>
                <a:gd name="T10" fmla="*/ 2 w 1020"/>
                <a:gd name="T11" fmla="*/ 29 h 1015"/>
                <a:gd name="T12" fmla="*/ 4 w 1020"/>
                <a:gd name="T13" fmla="*/ 18 h 1015"/>
                <a:gd name="T14" fmla="*/ 4 w 1020"/>
                <a:gd name="T15" fmla="*/ 15 h 1015"/>
                <a:gd name="T16" fmla="*/ 5 w 1020"/>
                <a:gd name="T17" fmla="*/ 13 h 1015"/>
                <a:gd name="T18" fmla="*/ 4 w 1020"/>
                <a:gd name="T19" fmla="*/ 10 h 1015"/>
                <a:gd name="T20" fmla="*/ 4 w 1020"/>
                <a:gd name="T21" fmla="*/ 5 h 1015"/>
                <a:gd name="T22" fmla="*/ 6 w 1020"/>
                <a:gd name="T23" fmla="*/ 5 h 1015"/>
                <a:gd name="T24" fmla="*/ 6 w 1020"/>
                <a:gd name="T25" fmla="*/ 2 h 1015"/>
                <a:gd name="T26" fmla="*/ 7 w 1020"/>
                <a:gd name="T27" fmla="*/ 0 h 1015"/>
                <a:gd name="T28" fmla="*/ 8 w 1020"/>
                <a:gd name="T29" fmla="*/ 2 h 1015"/>
                <a:gd name="T30" fmla="*/ 7 w 1020"/>
                <a:gd name="T31" fmla="*/ 7 h 1015"/>
                <a:gd name="T32" fmla="*/ 7 w 1020"/>
                <a:gd name="T33" fmla="*/ 11 h 1015"/>
                <a:gd name="T34" fmla="*/ 7 w 1020"/>
                <a:gd name="T35" fmla="*/ 13 h 1015"/>
                <a:gd name="T36" fmla="*/ 7 w 1020"/>
                <a:gd name="T37" fmla="*/ 18 h 1015"/>
                <a:gd name="T38" fmla="*/ 8 w 1020"/>
                <a:gd name="T39" fmla="*/ 20 h 1015"/>
                <a:gd name="T40" fmla="*/ 7 w 1020"/>
                <a:gd name="T41" fmla="*/ 26 h 1015"/>
                <a:gd name="T42" fmla="*/ 9 w 1020"/>
                <a:gd name="T43" fmla="*/ 30 h 1015"/>
                <a:gd name="T44" fmla="*/ 13 w 1020"/>
                <a:gd name="T45" fmla="*/ 34 h 1015"/>
                <a:gd name="T46" fmla="*/ 13 w 1020"/>
                <a:gd name="T47" fmla="*/ 29 h 1015"/>
                <a:gd name="T48" fmla="*/ 13 w 1020"/>
                <a:gd name="T49" fmla="*/ 28 h 1015"/>
                <a:gd name="T50" fmla="*/ 13 w 1020"/>
                <a:gd name="T51" fmla="*/ 31 h 1015"/>
                <a:gd name="T52" fmla="*/ 14 w 1020"/>
                <a:gd name="T53" fmla="*/ 33 h 1015"/>
                <a:gd name="T54" fmla="*/ 15 w 1020"/>
                <a:gd name="T55" fmla="*/ 32 h 1015"/>
                <a:gd name="T56" fmla="*/ 15 w 1020"/>
                <a:gd name="T57" fmla="*/ 29 h 1015"/>
                <a:gd name="T58" fmla="*/ 18 w 1020"/>
                <a:gd name="T59" fmla="*/ 23 h 1015"/>
                <a:gd name="T60" fmla="*/ 18 w 1020"/>
                <a:gd name="T61" fmla="*/ 27 h 1015"/>
                <a:gd name="T62" fmla="*/ 19 w 1020"/>
                <a:gd name="T63" fmla="*/ 28 h 1015"/>
                <a:gd name="T64" fmla="*/ 18 w 1020"/>
                <a:gd name="T65" fmla="*/ 31 h 1015"/>
                <a:gd name="T66" fmla="*/ 17 w 1020"/>
                <a:gd name="T67" fmla="*/ 33 h 1015"/>
                <a:gd name="T68" fmla="*/ 15 w 1020"/>
                <a:gd name="T69" fmla="*/ 49 h 1015"/>
                <a:gd name="T70" fmla="*/ 15 w 1020"/>
                <a:gd name="T71" fmla="*/ 43 h 1015"/>
                <a:gd name="T72" fmla="*/ 15 w 1020"/>
                <a:gd name="T73" fmla="*/ 45 h 1015"/>
                <a:gd name="T74" fmla="*/ 15 w 1020"/>
                <a:gd name="T75" fmla="*/ 42 h 1015"/>
                <a:gd name="T76" fmla="*/ 15 w 1020"/>
                <a:gd name="T77" fmla="*/ 38 h 1015"/>
                <a:gd name="T78" fmla="*/ 14 w 1020"/>
                <a:gd name="T79" fmla="*/ 38 h 1015"/>
                <a:gd name="T80" fmla="*/ 13 w 1020"/>
                <a:gd name="T81" fmla="*/ 33 h 1015"/>
                <a:gd name="T82" fmla="*/ 13 w 1020"/>
                <a:gd name="T83" fmla="*/ 36 h 1015"/>
                <a:gd name="T84" fmla="*/ 13 w 1020"/>
                <a:gd name="T85" fmla="*/ 38 h 1015"/>
                <a:gd name="T86" fmla="*/ 13 w 1020"/>
                <a:gd name="T87" fmla="*/ 39 h 1015"/>
                <a:gd name="T88" fmla="*/ 13 w 1020"/>
                <a:gd name="T89" fmla="*/ 41 h 1015"/>
                <a:gd name="T90" fmla="*/ 13 w 1020"/>
                <a:gd name="T91" fmla="*/ 50 h 1015"/>
                <a:gd name="T92" fmla="*/ 13 w 1020"/>
                <a:gd name="T93" fmla="*/ 49 h 1015"/>
                <a:gd name="T94" fmla="*/ 12 w 1020"/>
                <a:gd name="T95" fmla="*/ 56 h 1015"/>
                <a:gd name="T96" fmla="*/ 7 w 1020"/>
                <a:gd name="T97" fmla="*/ 69 h 1015"/>
                <a:gd name="T98" fmla="*/ 7 w 1020"/>
                <a:gd name="T99" fmla="*/ 87 h 1015"/>
                <a:gd name="T100" fmla="*/ 6 w 1020"/>
                <a:gd name="T101" fmla="*/ 95 h 1015"/>
                <a:gd name="T102" fmla="*/ 4 w 1020"/>
                <a:gd name="T103" fmla="*/ 81 h 1015"/>
                <a:gd name="T104" fmla="*/ 4 w 1020"/>
                <a:gd name="T105" fmla="*/ 70 h 1015"/>
                <a:gd name="T106" fmla="*/ 3 w 1020"/>
                <a:gd name="T107" fmla="*/ 67 h 1015"/>
                <a:gd name="T108" fmla="*/ 3 w 1020"/>
                <a:gd name="T109" fmla="*/ 48 h 1015"/>
                <a:gd name="T110" fmla="*/ 3 w 1020"/>
                <a:gd name="T111" fmla="*/ 47 h 1015"/>
                <a:gd name="T112" fmla="*/ 2 w 1020"/>
                <a:gd name="T113" fmla="*/ 52 h 1015"/>
                <a:gd name="T114" fmla="*/ 1 w 1020"/>
                <a:gd name="T115" fmla="*/ 53 h 1015"/>
                <a:gd name="T116" fmla="*/ 0 w 1020"/>
                <a:gd name="T117" fmla="*/ 48 h 1015"/>
                <a:gd name="T118" fmla="*/ 1 w 1020"/>
                <a:gd name="T119" fmla="*/ 45 h 1015"/>
                <a:gd name="T120" fmla="*/ 0 w 1020"/>
                <a:gd name="T121" fmla="*/ 46 h 1015"/>
                <a:gd name="T122" fmla="*/ 0 w 1020"/>
                <a:gd name="T123" fmla="*/ 43 h 101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20"/>
                <a:gd name="T187" fmla="*/ 0 h 1015"/>
                <a:gd name="T188" fmla="*/ 1020 w 1020"/>
                <a:gd name="T189" fmla="*/ 1015 h 101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20" h="1015">
                  <a:moveTo>
                    <a:pt x="0" y="462"/>
                  </a:moveTo>
                  <a:lnTo>
                    <a:pt x="29" y="439"/>
                  </a:lnTo>
                  <a:lnTo>
                    <a:pt x="107" y="439"/>
                  </a:lnTo>
                  <a:lnTo>
                    <a:pt x="53" y="333"/>
                  </a:lnTo>
                  <a:lnTo>
                    <a:pt x="84" y="304"/>
                  </a:lnTo>
                  <a:lnTo>
                    <a:pt x="131" y="308"/>
                  </a:lnTo>
                  <a:lnTo>
                    <a:pt x="233" y="192"/>
                  </a:lnTo>
                  <a:lnTo>
                    <a:pt x="226" y="160"/>
                  </a:lnTo>
                  <a:lnTo>
                    <a:pt x="253" y="141"/>
                  </a:lnTo>
                  <a:lnTo>
                    <a:pt x="208" y="106"/>
                  </a:lnTo>
                  <a:lnTo>
                    <a:pt x="206" y="49"/>
                  </a:lnTo>
                  <a:lnTo>
                    <a:pt x="305" y="49"/>
                  </a:lnTo>
                  <a:lnTo>
                    <a:pt x="335" y="22"/>
                  </a:lnTo>
                  <a:lnTo>
                    <a:pt x="389" y="0"/>
                  </a:lnTo>
                  <a:lnTo>
                    <a:pt x="427" y="20"/>
                  </a:lnTo>
                  <a:lnTo>
                    <a:pt x="378" y="79"/>
                  </a:lnTo>
                  <a:lnTo>
                    <a:pt x="401" y="127"/>
                  </a:lnTo>
                  <a:lnTo>
                    <a:pt x="363" y="134"/>
                  </a:lnTo>
                  <a:lnTo>
                    <a:pt x="380" y="194"/>
                  </a:lnTo>
                  <a:lnTo>
                    <a:pt x="452" y="220"/>
                  </a:lnTo>
                  <a:lnTo>
                    <a:pt x="418" y="276"/>
                  </a:lnTo>
                  <a:lnTo>
                    <a:pt x="511" y="329"/>
                  </a:lnTo>
                  <a:lnTo>
                    <a:pt x="692" y="363"/>
                  </a:lnTo>
                  <a:lnTo>
                    <a:pt x="696" y="310"/>
                  </a:lnTo>
                  <a:lnTo>
                    <a:pt x="719" y="304"/>
                  </a:lnTo>
                  <a:lnTo>
                    <a:pt x="724" y="330"/>
                  </a:lnTo>
                  <a:lnTo>
                    <a:pt x="737" y="353"/>
                  </a:lnTo>
                  <a:lnTo>
                    <a:pt x="829" y="343"/>
                  </a:lnTo>
                  <a:lnTo>
                    <a:pt x="823" y="311"/>
                  </a:lnTo>
                  <a:lnTo>
                    <a:pt x="972" y="249"/>
                  </a:lnTo>
                  <a:lnTo>
                    <a:pt x="983" y="286"/>
                  </a:lnTo>
                  <a:lnTo>
                    <a:pt x="1020" y="300"/>
                  </a:lnTo>
                  <a:lnTo>
                    <a:pt x="1005" y="337"/>
                  </a:lnTo>
                  <a:lnTo>
                    <a:pt x="944" y="360"/>
                  </a:lnTo>
                  <a:lnTo>
                    <a:pt x="853" y="528"/>
                  </a:lnTo>
                  <a:lnTo>
                    <a:pt x="835" y="461"/>
                  </a:lnTo>
                  <a:lnTo>
                    <a:pt x="819" y="486"/>
                  </a:lnTo>
                  <a:lnTo>
                    <a:pt x="797" y="453"/>
                  </a:lnTo>
                  <a:lnTo>
                    <a:pt x="837" y="412"/>
                  </a:lnTo>
                  <a:lnTo>
                    <a:pt x="759" y="406"/>
                  </a:lnTo>
                  <a:lnTo>
                    <a:pt x="709" y="359"/>
                  </a:lnTo>
                  <a:lnTo>
                    <a:pt x="693" y="385"/>
                  </a:lnTo>
                  <a:lnTo>
                    <a:pt x="711" y="406"/>
                  </a:lnTo>
                  <a:lnTo>
                    <a:pt x="687" y="420"/>
                  </a:lnTo>
                  <a:lnTo>
                    <a:pt x="710" y="442"/>
                  </a:lnTo>
                  <a:lnTo>
                    <a:pt x="724" y="538"/>
                  </a:lnTo>
                  <a:lnTo>
                    <a:pt x="693" y="522"/>
                  </a:lnTo>
                  <a:lnTo>
                    <a:pt x="634" y="598"/>
                  </a:lnTo>
                  <a:lnTo>
                    <a:pt x="424" y="750"/>
                  </a:lnTo>
                  <a:lnTo>
                    <a:pt x="409" y="939"/>
                  </a:lnTo>
                  <a:lnTo>
                    <a:pt x="321" y="1015"/>
                  </a:lnTo>
                  <a:lnTo>
                    <a:pt x="243" y="869"/>
                  </a:lnTo>
                  <a:lnTo>
                    <a:pt x="211" y="753"/>
                  </a:lnTo>
                  <a:lnTo>
                    <a:pt x="183" y="726"/>
                  </a:lnTo>
                  <a:lnTo>
                    <a:pt x="161" y="516"/>
                  </a:lnTo>
                  <a:lnTo>
                    <a:pt x="144" y="508"/>
                  </a:lnTo>
                  <a:lnTo>
                    <a:pt x="132" y="555"/>
                  </a:lnTo>
                  <a:lnTo>
                    <a:pt x="82" y="567"/>
                  </a:lnTo>
                  <a:lnTo>
                    <a:pt x="31" y="512"/>
                  </a:lnTo>
                  <a:lnTo>
                    <a:pt x="80" y="483"/>
                  </a:lnTo>
                  <a:lnTo>
                    <a:pt x="31" y="494"/>
                  </a:lnTo>
                  <a:lnTo>
                    <a:pt x="0" y="46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1" name="Freeform 83"/>
            <p:cNvSpPr>
              <a:spLocks noChangeAspect="1"/>
            </p:cNvSpPr>
            <p:nvPr/>
          </p:nvSpPr>
          <p:spPr bwMode="gray">
            <a:xfrm>
              <a:off x="6639786" y="4123987"/>
              <a:ext cx="272597" cy="343426"/>
            </a:xfrm>
            <a:custGeom>
              <a:avLst/>
              <a:gdLst>
                <a:gd name="T0" fmla="*/ 0 w 377"/>
                <a:gd name="T1" fmla="*/ 0 h 394"/>
                <a:gd name="T2" fmla="*/ 2 w 377"/>
                <a:gd name="T3" fmla="*/ 2 h 394"/>
                <a:gd name="T4" fmla="*/ 4 w 377"/>
                <a:gd name="T5" fmla="*/ 12 h 394"/>
                <a:gd name="T6" fmla="*/ 6 w 377"/>
                <a:gd name="T7" fmla="*/ 16 h 394"/>
                <a:gd name="T8" fmla="*/ 5 w 377"/>
                <a:gd name="T9" fmla="*/ 19 h 394"/>
                <a:gd name="T10" fmla="*/ 6 w 377"/>
                <a:gd name="T11" fmla="*/ 18 h 394"/>
                <a:gd name="T12" fmla="*/ 6 w 377"/>
                <a:gd name="T13" fmla="*/ 23 h 394"/>
                <a:gd name="T14" fmla="*/ 8 w 377"/>
                <a:gd name="T15" fmla="*/ 30 h 394"/>
                <a:gd name="T16" fmla="*/ 8 w 377"/>
                <a:gd name="T17" fmla="*/ 40 h 394"/>
                <a:gd name="T18" fmla="*/ 7 w 377"/>
                <a:gd name="T19" fmla="*/ 40 h 394"/>
                <a:gd name="T20" fmla="*/ 5 w 377"/>
                <a:gd name="T21" fmla="*/ 34 h 394"/>
                <a:gd name="T22" fmla="*/ 3 w 377"/>
                <a:gd name="T23" fmla="*/ 14 h 394"/>
                <a:gd name="T24" fmla="*/ 0 w 377"/>
                <a:gd name="T25" fmla="*/ 0 h 3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7"/>
                <a:gd name="T40" fmla="*/ 0 h 394"/>
                <a:gd name="T41" fmla="*/ 377 w 377"/>
                <a:gd name="T42" fmla="*/ 394 h 39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7" h="394">
                  <a:moveTo>
                    <a:pt x="0" y="0"/>
                  </a:moveTo>
                  <a:lnTo>
                    <a:pt x="83" y="16"/>
                  </a:lnTo>
                  <a:lnTo>
                    <a:pt x="188" y="119"/>
                  </a:lnTo>
                  <a:lnTo>
                    <a:pt x="274" y="157"/>
                  </a:lnTo>
                  <a:lnTo>
                    <a:pt x="264" y="185"/>
                  </a:lnTo>
                  <a:lnTo>
                    <a:pt x="295" y="183"/>
                  </a:lnTo>
                  <a:lnTo>
                    <a:pt x="290" y="221"/>
                  </a:lnTo>
                  <a:lnTo>
                    <a:pt x="377" y="294"/>
                  </a:lnTo>
                  <a:lnTo>
                    <a:pt x="367" y="393"/>
                  </a:lnTo>
                  <a:lnTo>
                    <a:pt x="330" y="394"/>
                  </a:lnTo>
                  <a:lnTo>
                    <a:pt x="253" y="337"/>
                  </a:lnTo>
                  <a:lnTo>
                    <a:pt x="129" y="1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2" name="Freeform 84"/>
            <p:cNvSpPr>
              <a:spLocks noChangeAspect="1"/>
            </p:cNvSpPr>
            <p:nvPr/>
          </p:nvSpPr>
          <p:spPr bwMode="gray">
            <a:xfrm>
              <a:off x="6894006" y="4470731"/>
              <a:ext cx="228185" cy="84612"/>
            </a:xfrm>
            <a:custGeom>
              <a:avLst/>
              <a:gdLst>
                <a:gd name="T0" fmla="*/ 0 w 315"/>
                <a:gd name="T1" fmla="*/ 2 h 99"/>
                <a:gd name="T2" fmla="*/ 0 w 315"/>
                <a:gd name="T3" fmla="*/ 0 h 99"/>
                <a:gd name="T4" fmla="*/ 5 w 315"/>
                <a:gd name="T5" fmla="*/ 3 h 99"/>
                <a:gd name="T6" fmla="*/ 6 w 315"/>
                <a:gd name="T7" fmla="*/ 4 h 99"/>
                <a:gd name="T8" fmla="*/ 7 w 315"/>
                <a:gd name="T9" fmla="*/ 5 h 99"/>
                <a:gd name="T10" fmla="*/ 7 w 315"/>
                <a:gd name="T11" fmla="*/ 7 h 99"/>
                <a:gd name="T12" fmla="*/ 1 w 315"/>
                <a:gd name="T13" fmla="*/ 4 h 99"/>
                <a:gd name="T14" fmla="*/ 0 w 315"/>
                <a:gd name="T15" fmla="*/ 2 h 9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15"/>
                <a:gd name="T25" fmla="*/ 0 h 99"/>
                <a:gd name="T26" fmla="*/ 315 w 315"/>
                <a:gd name="T27" fmla="*/ 99 h 9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15" h="99">
                  <a:moveTo>
                    <a:pt x="0" y="28"/>
                  </a:moveTo>
                  <a:lnTo>
                    <a:pt x="21" y="0"/>
                  </a:lnTo>
                  <a:lnTo>
                    <a:pt x="242" y="31"/>
                  </a:lnTo>
                  <a:lnTo>
                    <a:pt x="264" y="56"/>
                  </a:lnTo>
                  <a:lnTo>
                    <a:pt x="309" y="65"/>
                  </a:lnTo>
                  <a:lnTo>
                    <a:pt x="315" y="99"/>
                  </a:lnTo>
                  <a:lnTo>
                    <a:pt x="55" y="51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3" name="Freeform 85"/>
            <p:cNvSpPr>
              <a:spLocks noChangeAspect="1"/>
            </p:cNvSpPr>
            <p:nvPr/>
          </p:nvSpPr>
          <p:spPr bwMode="gray">
            <a:xfrm>
              <a:off x="6987424" y="4162145"/>
              <a:ext cx="246562" cy="253837"/>
            </a:xfrm>
            <a:custGeom>
              <a:avLst/>
              <a:gdLst>
                <a:gd name="T0" fmla="*/ 0 w 342"/>
                <a:gd name="T1" fmla="*/ 14 h 291"/>
                <a:gd name="T2" fmla="*/ 0 w 342"/>
                <a:gd name="T3" fmla="*/ 9 h 291"/>
                <a:gd name="T4" fmla="*/ 1 w 342"/>
                <a:gd name="T5" fmla="*/ 12 h 291"/>
                <a:gd name="T6" fmla="*/ 3 w 342"/>
                <a:gd name="T7" fmla="*/ 11 h 291"/>
                <a:gd name="T8" fmla="*/ 4 w 342"/>
                <a:gd name="T9" fmla="*/ 9 h 291"/>
                <a:gd name="T10" fmla="*/ 5 w 342"/>
                <a:gd name="T11" fmla="*/ 0 h 291"/>
                <a:gd name="T12" fmla="*/ 6 w 342"/>
                <a:gd name="T13" fmla="*/ 1 h 291"/>
                <a:gd name="T14" fmla="*/ 6 w 342"/>
                <a:gd name="T15" fmla="*/ 3 h 291"/>
                <a:gd name="T16" fmla="*/ 7 w 342"/>
                <a:gd name="T17" fmla="*/ 12 h 291"/>
                <a:gd name="T18" fmla="*/ 6 w 342"/>
                <a:gd name="T19" fmla="*/ 12 h 291"/>
                <a:gd name="T20" fmla="*/ 5 w 342"/>
                <a:gd name="T21" fmla="*/ 22 h 291"/>
                <a:gd name="T22" fmla="*/ 5 w 342"/>
                <a:gd name="T23" fmla="*/ 28 h 291"/>
                <a:gd name="T24" fmla="*/ 4 w 342"/>
                <a:gd name="T25" fmla="*/ 30 h 291"/>
                <a:gd name="T26" fmla="*/ 3 w 342"/>
                <a:gd name="T27" fmla="*/ 26 h 291"/>
                <a:gd name="T28" fmla="*/ 2 w 342"/>
                <a:gd name="T29" fmla="*/ 28 h 291"/>
                <a:gd name="T30" fmla="*/ 2 w 342"/>
                <a:gd name="T31" fmla="*/ 25 h 291"/>
                <a:gd name="T32" fmla="*/ 1 w 342"/>
                <a:gd name="T33" fmla="*/ 25 h 291"/>
                <a:gd name="T34" fmla="*/ 0 w 342"/>
                <a:gd name="T35" fmla="*/ 14 h 29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42"/>
                <a:gd name="T55" fmla="*/ 0 h 291"/>
                <a:gd name="T56" fmla="*/ 342 w 342"/>
                <a:gd name="T57" fmla="*/ 291 h 29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42" h="291">
                  <a:moveTo>
                    <a:pt x="0" y="131"/>
                  </a:moveTo>
                  <a:lnTo>
                    <a:pt x="23" y="93"/>
                  </a:lnTo>
                  <a:lnTo>
                    <a:pt x="51" y="116"/>
                  </a:lnTo>
                  <a:lnTo>
                    <a:pt x="156" y="107"/>
                  </a:lnTo>
                  <a:lnTo>
                    <a:pt x="190" y="95"/>
                  </a:lnTo>
                  <a:lnTo>
                    <a:pt x="236" y="0"/>
                  </a:lnTo>
                  <a:lnTo>
                    <a:pt x="296" y="3"/>
                  </a:lnTo>
                  <a:lnTo>
                    <a:pt x="283" y="28"/>
                  </a:lnTo>
                  <a:lnTo>
                    <a:pt x="342" y="116"/>
                  </a:lnTo>
                  <a:lnTo>
                    <a:pt x="309" y="110"/>
                  </a:lnTo>
                  <a:lnTo>
                    <a:pt x="250" y="209"/>
                  </a:lnTo>
                  <a:lnTo>
                    <a:pt x="242" y="272"/>
                  </a:lnTo>
                  <a:lnTo>
                    <a:pt x="204" y="291"/>
                  </a:lnTo>
                  <a:lnTo>
                    <a:pt x="139" y="254"/>
                  </a:lnTo>
                  <a:lnTo>
                    <a:pt x="100" y="271"/>
                  </a:lnTo>
                  <a:lnTo>
                    <a:pt x="95" y="241"/>
                  </a:lnTo>
                  <a:lnTo>
                    <a:pt x="41" y="247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4" name="Freeform 86"/>
            <p:cNvSpPr>
              <a:spLocks noChangeAspect="1"/>
            </p:cNvSpPr>
            <p:nvPr/>
          </p:nvSpPr>
          <p:spPr bwMode="gray">
            <a:xfrm>
              <a:off x="7180386" y="4547048"/>
              <a:ext cx="61258" cy="16591"/>
            </a:xfrm>
            <a:custGeom>
              <a:avLst/>
              <a:gdLst>
                <a:gd name="T0" fmla="*/ 0 w 84"/>
                <a:gd name="T1" fmla="*/ 0 h 21"/>
                <a:gd name="T2" fmla="*/ 0 w 84"/>
                <a:gd name="T3" fmla="*/ 0 h 21"/>
                <a:gd name="T4" fmla="*/ 2 w 84"/>
                <a:gd name="T5" fmla="*/ 0 h 21"/>
                <a:gd name="T6" fmla="*/ 0 w 84"/>
                <a:gd name="T7" fmla="*/ 0 h 21"/>
                <a:gd name="T8" fmla="*/ 0 w 84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4"/>
                <a:gd name="T16" fmla="*/ 0 h 21"/>
                <a:gd name="T17" fmla="*/ 84 w 84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4" h="21">
                  <a:moveTo>
                    <a:pt x="0" y="4"/>
                  </a:moveTo>
                  <a:lnTo>
                    <a:pt x="9" y="21"/>
                  </a:lnTo>
                  <a:lnTo>
                    <a:pt x="84" y="6"/>
                  </a:lnTo>
                  <a:lnTo>
                    <a:pt x="27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5" name="Freeform 87"/>
            <p:cNvSpPr>
              <a:spLocks noChangeAspect="1"/>
            </p:cNvSpPr>
            <p:nvPr/>
          </p:nvSpPr>
          <p:spPr bwMode="gray">
            <a:xfrm>
              <a:off x="7233987" y="4238462"/>
              <a:ext cx="153144" cy="220656"/>
            </a:xfrm>
            <a:custGeom>
              <a:avLst/>
              <a:gdLst>
                <a:gd name="T0" fmla="*/ 0 w 214"/>
                <a:gd name="T1" fmla="*/ 15 h 254"/>
                <a:gd name="T2" fmla="*/ 0 w 214"/>
                <a:gd name="T3" fmla="*/ 19 h 254"/>
                <a:gd name="T4" fmla="*/ 0 w 214"/>
                <a:gd name="T5" fmla="*/ 24 h 254"/>
                <a:gd name="T6" fmla="*/ 1 w 214"/>
                <a:gd name="T7" fmla="*/ 25 h 254"/>
                <a:gd name="T8" fmla="*/ 1 w 214"/>
                <a:gd name="T9" fmla="*/ 16 h 254"/>
                <a:gd name="T10" fmla="*/ 1 w 214"/>
                <a:gd name="T11" fmla="*/ 15 h 254"/>
                <a:gd name="T12" fmla="*/ 1 w 214"/>
                <a:gd name="T13" fmla="*/ 18 h 254"/>
                <a:gd name="T14" fmla="*/ 1 w 214"/>
                <a:gd name="T15" fmla="*/ 22 h 254"/>
                <a:gd name="T16" fmla="*/ 2 w 214"/>
                <a:gd name="T17" fmla="*/ 20 h 254"/>
                <a:gd name="T18" fmla="*/ 1 w 214"/>
                <a:gd name="T19" fmla="*/ 12 h 254"/>
                <a:gd name="T20" fmla="*/ 3 w 214"/>
                <a:gd name="T21" fmla="*/ 8 h 254"/>
                <a:gd name="T22" fmla="*/ 1 w 214"/>
                <a:gd name="T23" fmla="*/ 10 h 254"/>
                <a:gd name="T24" fmla="*/ 1 w 214"/>
                <a:gd name="T25" fmla="*/ 5 h 254"/>
                <a:gd name="T26" fmla="*/ 3 w 214"/>
                <a:gd name="T27" fmla="*/ 4 h 254"/>
                <a:gd name="T28" fmla="*/ 4 w 214"/>
                <a:gd name="T29" fmla="*/ 0 h 254"/>
                <a:gd name="T30" fmla="*/ 3 w 214"/>
                <a:gd name="T31" fmla="*/ 3 h 254"/>
                <a:gd name="T32" fmla="*/ 1 w 214"/>
                <a:gd name="T33" fmla="*/ 2 h 254"/>
                <a:gd name="T34" fmla="*/ 0 w 214"/>
                <a:gd name="T35" fmla="*/ 4 h 254"/>
                <a:gd name="T36" fmla="*/ 0 w 214"/>
                <a:gd name="T37" fmla="*/ 15 h 2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14"/>
                <a:gd name="T58" fmla="*/ 0 h 254"/>
                <a:gd name="T59" fmla="*/ 214 w 214"/>
                <a:gd name="T60" fmla="*/ 254 h 2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14" h="254">
                  <a:moveTo>
                    <a:pt x="0" y="151"/>
                  </a:moveTo>
                  <a:lnTo>
                    <a:pt x="27" y="198"/>
                  </a:lnTo>
                  <a:lnTo>
                    <a:pt x="18" y="244"/>
                  </a:lnTo>
                  <a:lnTo>
                    <a:pt x="53" y="254"/>
                  </a:lnTo>
                  <a:lnTo>
                    <a:pt x="50" y="160"/>
                  </a:lnTo>
                  <a:lnTo>
                    <a:pt x="72" y="151"/>
                  </a:lnTo>
                  <a:lnTo>
                    <a:pt x="76" y="187"/>
                  </a:lnTo>
                  <a:lnTo>
                    <a:pt x="95" y="228"/>
                  </a:lnTo>
                  <a:lnTo>
                    <a:pt x="133" y="210"/>
                  </a:lnTo>
                  <a:lnTo>
                    <a:pt x="87" y="122"/>
                  </a:lnTo>
                  <a:lnTo>
                    <a:pt x="158" y="84"/>
                  </a:lnTo>
                  <a:lnTo>
                    <a:pt x="62" y="108"/>
                  </a:lnTo>
                  <a:lnTo>
                    <a:pt x="48" y="52"/>
                  </a:lnTo>
                  <a:lnTo>
                    <a:pt x="188" y="46"/>
                  </a:lnTo>
                  <a:lnTo>
                    <a:pt x="214" y="0"/>
                  </a:lnTo>
                  <a:lnTo>
                    <a:pt x="172" y="29"/>
                  </a:lnTo>
                  <a:lnTo>
                    <a:pt x="72" y="14"/>
                  </a:lnTo>
                  <a:lnTo>
                    <a:pt x="38" y="35"/>
                  </a:lnTo>
                  <a:lnTo>
                    <a:pt x="0" y="15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6" name="Freeform 88"/>
            <p:cNvSpPr>
              <a:spLocks noChangeAspect="1"/>
            </p:cNvSpPr>
            <p:nvPr/>
          </p:nvSpPr>
          <p:spPr bwMode="gray">
            <a:xfrm>
              <a:off x="7353439" y="4547048"/>
              <a:ext cx="87292" cy="54749"/>
            </a:xfrm>
            <a:custGeom>
              <a:avLst/>
              <a:gdLst>
                <a:gd name="T0" fmla="*/ 0 w 120"/>
                <a:gd name="T1" fmla="*/ 3 h 65"/>
                <a:gd name="T2" fmla="*/ 0 w 120"/>
                <a:gd name="T3" fmla="*/ 4 h 65"/>
                <a:gd name="T4" fmla="*/ 3 w 120"/>
                <a:gd name="T5" fmla="*/ 0 h 65"/>
                <a:gd name="T6" fmla="*/ 0 w 120"/>
                <a:gd name="T7" fmla="*/ 2 h 65"/>
                <a:gd name="T8" fmla="*/ 0 w 120"/>
                <a:gd name="T9" fmla="*/ 3 h 6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0"/>
                <a:gd name="T16" fmla="*/ 0 h 65"/>
                <a:gd name="T17" fmla="*/ 120 w 120"/>
                <a:gd name="T18" fmla="*/ 65 h 6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0" h="65">
                  <a:moveTo>
                    <a:pt x="0" y="38"/>
                  </a:moveTo>
                  <a:lnTo>
                    <a:pt x="5" y="65"/>
                  </a:lnTo>
                  <a:lnTo>
                    <a:pt x="120" y="0"/>
                  </a:lnTo>
                  <a:lnTo>
                    <a:pt x="34" y="20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7" name="Freeform 89"/>
            <p:cNvSpPr>
              <a:spLocks noChangeAspect="1"/>
            </p:cNvSpPr>
            <p:nvPr/>
          </p:nvSpPr>
          <p:spPr bwMode="gray">
            <a:xfrm>
              <a:off x="7446857" y="4228508"/>
              <a:ext cx="26035" cy="87930"/>
            </a:xfrm>
            <a:custGeom>
              <a:avLst/>
              <a:gdLst>
                <a:gd name="T0" fmla="*/ 0 w 40"/>
                <a:gd name="T1" fmla="*/ 3 h 104"/>
                <a:gd name="T2" fmla="*/ 0 w 40"/>
                <a:gd name="T3" fmla="*/ 5 h 104"/>
                <a:gd name="T4" fmla="*/ 0 w 40"/>
                <a:gd name="T5" fmla="*/ 7 h 104"/>
                <a:gd name="T6" fmla="*/ 0 w 40"/>
                <a:gd name="T7" fmla="*/ 4 h 104"/>
                <a:gd name="T8" fmla="*/ 0 w 40"/>
                <a:gd name="T9" fmla="*/ 4 h 104"/>
                <a:gd name="T10" fmla="*/ 0 w 40"/>
                <a:gd name="T11" fmla="*/ 2 h 104"/>
                <a:gd name="T12" fmla="*/ 0 w 40"/>
                <a:gd name="T13" fmla="*/ 3 h 104"/>
                <a:gd name="T14" fmla="*/ 0 w 40"/>
                <a:gd name="T15" fmla="*/ 0 h 104"/>
                <a:gd name="T16" fmla="*/ 0 w 40"/>
                <a:gd name="T17" fmla="*/ 3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104"/>
                <a:gd name="T29" fmla="*/ 40 w 40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104">
                  <a:moveTo>
                    <a:pt x="0" y="37"/>
                  </a:moveTo>
                  <a:lnTo>
                    <a:pt x="9" y="83"/>
                  </a:lnTo>
                  <a:lnTo>
                    <a:pt x="32" y="104"/>
                  </a:lnTo>
                  <a:lnTo>
                    <a:pt x="17" y="60"/>
                  </a:lnTo>
                  <a:lnTo>
                    <a:pt x="40" y="55"/>
                  </a:lnTo>
                  <a:lnTo>
                    <a:pt x="38" y="22"/>
                  </a:lnTo>
                  <a:lnTo>
                    <a:pt x="9" y="43"/>
                  </a:lnTo>
                  <a:lnTo>
                    <a:pt x="21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8" name="Freeform 90"/>
            <p:cNvSpPr>
              <a:spLocks noChangeAspect="1"/>
            </p:cNvSpPr>
            <p:nvPr/>
          </p:nvSpPr>
          <p:spPr bwMode="gray">
            <a:xfrm>
              <a:off x="7457577" y="4374505"/>
              <a:ext cx="70446" cy="28204"/>
            </a:xfrm>
            <a:custGeom>
              <a:avLst/>
              <a:gdLst>
                <a:gd name="T0" fmla="*/ 0 w 99"/>
                <a:gd name="T1" fmla="*/ 1 h 33"/>
                <a:gd name="T2" fmla="*/ 1 w 99"/>
                <a:gd name="T3" fmla="*/ 0 h 33"/>
                <a:gd name="T4" fmla="*/ 1 w 99"/>
                <a:gd name="T5" fmla="*/ 3 h 33"/>
                <a:gd name="T6" fmla="*/ 0 w 99"/>
                <a:gd name="T7" fmla="*/ 1 h 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9"/>
                <a:gd name="T13" fmla="*/ 0 h 33"/>
                <a:gd name="T14" fmla="*/ 99 w 99"/>
                <a:gd name="T15" fmla="*/ 33 h 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9" h="33">
                  <a:moveTo>
                    <a:pt x="0" y="13"/>
                  </a:moveTo>
                  <a:lnTo>
                    <a:pt x="55" y="0"/>
                  </a:lnTo>
                  <a:lnTo>
                    <a:pt x="99" y="3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89" name="Freeform 91"/>
            <p:cNvSpPr>
              <a:spLocks noChangeAspect="1"/>
            </p:cNvSpPr>
            <p:nvPr/>
          </p:nvSpPr>
          <p:spPr bwMode="gray">
            <a:xfrm>
              <a:off x="7529555" y="4303166"/>
              <a:ext cx="261877" cy="260473"/>
            </a:xfrm>
            <a:custGeom>
              <a:avLst/>
              <a:gdLst>
                <a:gd name="T0" fmla="*/ 0 w 362"/>
                <a:gd name="T1" fmla="*/ 4 h 300"/>
                <a:gd name="T2" fmla="*/ 1 w 362"/>
                <a:gd name="T3" fmla="*/ 6 h 300"/>
                <a:gd name="T4" fmla="*/ 2 w 362"/>
                <a:gd name="T5" fmla="*/ 5 h 300"/>
                <a:gd name="T6" fmla="*/ 1 w 362"/>
                <a:gd name="T7" fmla="*/ 8 h 300"/>
                <a:gd name="T8" fmla="*/ 1 w 362"/>
                <a:gd name="T9" fmla="*/ 13 h 300"/>
                <a:gd name="T10" fmla="*/ 2 w 362"/>
                <a:gd name="T11" fmla="*/ 8 h 300"/>
                <a:gd name="T12" fmla="*/ 2 w 362"/>
                <a:gd name="T13" fmla="*/ 13 h 300"/>
                <a:gd name="T14" fmla="*/ 5 w 362"/>
                <a:gd name="T15" fmla="*/ 17 h 300"/>
                <a:gd name="T16" fmla="*/ 6 w 362"/>
                <a:gd name="T17" fmla="*/ 24 h 300"/>
                <a:gd name="T18" fmla="*/ 5 w 362"/>
                <a:gd name="T19" fmla="*/ 23 h 300"/>
                <a:gd name="T20" fmla="*/ 5 w 362"/>
                <a:gd name="T21" fmla="*/ 27 h 300"/>
                <a:gd name="T22" fmla="*/ 7 w 362"/>
                <a:gd name="T23" fmla="*/ 25 h 300"/>
                <a:gd name="T24" fmla="*/ 8 w 362"/>
                <a:gd name="T25" fmla="*/ 29 h 300"/>
                <a:gd name="T26" fmla="*/ 8 w 362"/>
                <a:gd name="T27" fmla="*/ 7 h 300"/>
                <a:gd name="T28" fmla="*/ 5 w 362"/>
                <a:gd name="T29" fmla="*/ 4 h 300"/>
                <a:gd name="T30" fmla="*/ 3 w 362"/>
                <a:gd name="T31" fmla="*/ 10 h 300"/>
                <a:gd name="T32" fmla="*/ 2 w 362"/>
                <a:gd name="T33" fmla="*/ 7 h 300"/>
                <a:gd name="T34" fmla="*/ 2 w 362"/>
                <a:gd name="T35" fmla="*/ 2 h 300"/>
                <a:gd name="T36" fmla="*/ 1 w 362"/>
                <a:gd name="T37" fmla="*/ 0 h 300"/>
                <a:gd name="T38" fmla="*/ 0 w 362"/>
                <a:gd name="T39" fmla="*/ 4 h 3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62"/>
                <a:gd name="T61" fmla="*/ 0 h 300"/>
                <a:gd name="T62" fmla="*/ 362 w 362"/>
                <a:gd name="T63" fmla="*/ 300 h 30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62" h="300">
                  <a:moveTo>
                    <a:pt x="0" y="37"/>
                  </a:moveTo>
                  <a:lnTo>
                    <a:pt x="52" y="65"/>
                  </a:lnTo>
                  <a:lnTo>
                    <a:pt x="105" y="59"/>
                  </a:lnTo>
                  <a:lnTo>
                    <a:pt x="38" y="80"/>
                  </a:lnTo>
                  <a:lnTo>
                    <a:pt x="71" y="129"/>
                  </a:lnTo>
                  <a:lnTo>
                    <a:pt x="102" y="87"/>
                  </a:lnTo>
                  <a:lnTo>
                    <a:pt x="123" y="129"/>
                  </a:lnTo>
                  <a:lnTo>
                    <a:pt x="254" y="174"/>
                  </a:lnTo>
                  <a:lnTo>
                    <a:pt x="285" y="247"/>
                  </a:lnTo>
                  <a:lnTo>
                    <a:pt x="260" y="243"/>
                  </a:lnTo>
                  <a:lnTo>
                    <a:pt x="241" y="279"/>
                  </a:lnTo>
                  <a:lnTo>
                    <a:pt x="319" y="263"/>
                  </a:lnTo>
                  <a:lnTo>
                    <a:pt x="362" y="300"/>
                  </a:lnTo>
                  <a:lnTo>
                    <a:pt x="357" y="76"/>
                  </a:lnTo>
                  <a:lnTo>
                    <a:pt x="244" y="37"/>
                  </a:lnTo>
                  <a:lnTo>
                    <a:pt x="154" y="103"/>
                  </a:lnTo>
                  <a:lnTo>
                    <a:pt x="117" y="69"/>
                  </a:lnTo>
                  <a:lnTo>
                    <a:pt x="106" y="14"/>
                  </a:lnTo>
                  <a:lnTo>
                    <a:pt x="52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0" name="Freeform 92"/>
            <p:cNvSpPr>
              <a:spLocks noChangeAspect="1"/>
            </p:cNvSpPr>
            <p:nvPr/>
          </p:nvSpPr>
          <p:spPr bwMode="gray">
            <a:xfrm>
              <a:off x="7538744" y="4502253"/>
              <a:ext cx="12252" cy="23227"/>
            </a:xfrm>
            <a:custGeom>
              <a:avLst/>
              <a:gdLst>
                <a:gd name="T0" fmla="*/ 0 w 16"/>
                <a:gd name="T1" fmla="*/ 4 h 26"/>
                <a:gd name="T2" fmla="*/ 1 w 16"/>
                <a:gd name="T3" fmla="*/ 0 h 26"/>
                <a:gd name="T4" fmla="*/ 1 w 16"/>
                <a:gd name="T5" fmla="*/ 2 h 26"/>
                <a:gd name="T6" fmla="*/ 0 w 16"/>
                <a:gd name="T7" fmla="*/ 4 h 2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26"/>
                <a:gd name="T14" fmla="*/ 16 w 16"/>
                <a:gd name="T15" fmla="*/ 26 h 2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26">
                  <a:moveTo>
                    <a:pt x="0" y="26"/>
                  </a:moveTo>
                  <a:lnTo>
                    <a:pt x="10" y="0"/>
                  </a:lnTo>
                  <a:lnTo>
                    <a:pt x="16" y="15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1" name="Freeform 93"/>
            <p:cNvSpPr>
              <a:spLocks noChangeAspect="1"/>
            </p:cNvSpPr>
            <p:nvPr/>
          </p:nvSpPr>
          <p:spPr bwMode="gray">
            <a:xfrm>
              <a:off x="5361031" y="3037300"/>
              <a:ext cx="477810" cy="489424"/>
            </a:xfrm>
            <a:custGeom>
              <a:avLst/>
              <a:gdLst>
                <a:gd name="T0" fmla="*/ 0 w 665"/>
                <a:gd name="T1" fmla="*/ 2 h 567"/>
                <a:gd name="T2" fmla="*/ 0 w 665"/>
                <a:gd name="T3" fmla="*/ 0 h 567"/>
                <a:gd name="T4" fmla="*/ 1 w 665"/>
                <a:gd name="T5" fmla="*/ 4 h 567"/>
                <a:gd name="T6" fmla="*/ 2 w 665"/>
                <a:gd name="T7" fmla="*/ 1 h 567"/>
                <a:gd name="T8" fmla="*/ 3 w 665"/>
                <a:gd name="T9" fmla="*/ 4 h 567"/>
                <a:gd name="T10" fmla="*/ 3 w 665"/>
                <a:gd name="T11" fmla="*/ 5 h 567"/>
                <a:gd name="T12" fmla="*/ 3 w 665"/>
                <a:gd name="T13" fmla="*/ 8 h 567"/>
                <a:gd name="T14" fmla="*/ 5 w 665"/>
                <a:gd name="T15" fmla="*/ 11 h 567"/>
                <a:gd name="T16" fmla="*/ 7 w 665"/>
                <a:gd name="T17" fmla="*/ 10 h 567"/>
                <a:gd name="T18" fmla="*/ 7 w 665"/>
                <a:gd name="T19" fmla="*/ 9 h 567"/>
                <a:gd name="T20" fmla="*/ 8 w 665"/>
                <a:gd name="T21" fmla="*/ 5 h 567"/>
                <a:gd name="T22" fmla="*/ 11 w 665"/>
                <a:gd name="T23" fmla="*/ 11 h 567"/>
                <a:gd name="T24" fmla="*/ 11 w 665"/>
                <a:gd name="T25" fmla="*/ 14 h 567"/>
                <a:gd name="T26" fmla="*/ 11 w 665"/>
                <a:gd name="T27" fmla="*/ 20 h 567"/>
                <a:gd name="T28" fmla="*/ 11 w 665"/>
                <a:gd name="T29" fmla="*/ 28 h 567"/>
                <a:gd name="T30" fmla="*/ 11 w 665"/>
                <a:gd name="T31" fmla="*/ 30 h 567"/>
                <a:gd name="T32" fmla="*/ 11 w 665"/>
                <a:gd name="T33" fmla="*/ 34 h 567"/>
                <a:gd name="T34" fmla="*/ 12 w 665"/>
                <a:gd name="T35" fmla="*/ 44 h 567"/>
                <a:gd name="T36" fmla="*/ 11 w 665"/>
                <a:gd name="T37" fmla="*/ 50 h 567"/>
                <a:gd name="T38" fmla="*/ 8 w 665"/>
                <a:gd name="T39" fmla="*/ 48 h 567"/>
                <a:gd name="T40" fmla="*/ 8 w 665"/>
                <a:gd name="T41" fmla="*/ 44 h 567"/>
                <a:gd name="T42" fmla="*/ 6 w 665"/>
                <a:gd name="T43" fmla="*/ 45 h 567"/>
                <a:gd name="T44" fmla="*/ 5 w 665"/>
                <a:gd name="T45" fmla="*/ 41 h 567"/>
                <a:gd name="T46" fmla="*/ 4 w 665"/>
                <a:gd name="T47" fmla="*/ 33 h 567"/>
                <a:gd name="T48" fmla="*/ 3 w 665"/>
                <a:gd name="T49" fmla="*/ 32 h 567"/>
                <a:gd name="T50" fmla="*/ 3 w 665"/>
                <a:gd name="T51" fmla="*/ 34 h 567"/>
                <a:gd name="T52" fmla="*/ 2 w 665"/>
                <a:gd name="T53" fmla="*/ 26 h 567"/>
                <a:gd name="T54" fmla="*/ 1 w 665"/>
                <a:gd name="T55" fmla="*/ 21 h 567"/>
                <a:gd name="T56" fmla="*/ 1 w 665"/>
                <a:gd name="T57" fmla="*/ 14 h 567"/>
                <a:gd name="T58" fmla="*/ 1 w 665"/>
                <a:gd name="T59" fmla="*/ 13 h 567"/>
                <a:gd name="T60" fmla="*/ 0 w 665"/>
                <a:gd name="T61" fmla="*/ 9 h 567"/>
                <a:gd name="T62" fmla="*/ 0 w 665"/>
                <a:gd name="T63" fmla="*/ 2 h 5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65"/>
                <a:gd name="T97" fmla="*/ 0 h 567"/>
                <a:gd name="T98" fmla="*/ 665 w 665"/>
                <a:gd name="T99" fmla="*/ 567 h 5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65" h="567">
                  <a:moveTo>
                    <a:pt x="0" y="18"/>
                  </a:moveTo>
                  <a:lnTo>
                    <a:pt x="18" y="0"/>
                  </a:lnTo>
                  <a:lnTo>
                    <a:pt x="69" y="43"/>
                  </a:lnTo>
                  <a:lnTo>
                    <a:pt x="131" y="9"/>
                  </a:lnTo>
                  <a:lnTo>
                    <a:pt x="137" y="42"/>
                  </a:lnTo>
                  <a:lnTo>
                    <a:pt x="166" y="53"/>
                  </a:lnTo>
                  <a:lnTo>
                    <a:pt x="173" y="91"/>
                  </a:lnTo>
                  <a:lnTo>
                    <a:pt x="265" y="130"/>
                  </a:lnTo>
                  <a:lnTo>
                    <a:pt x="349" y="119"/>
                  </a:lnTo>
                  <a:lnTo>
                    <a:pt x="342" y="97"/>
                  </a:lnTo>
                  <a:lnTo>
                    <a:pt x="450" y="60"/>
                  </a:lnTo>
                  <a:lnTo>
                    <a:pt x="591" y="125"/>
                  </a:lnTo>
                  <a:lnTo>
                    <a:pt x="596" y="160"/>
                  </a:lnTo>
                  <a:lnTo>
                    <a:pt x="572" y="226"/>
                  </a:lnTo>
                  <a:lnTo>
                    <a:pt x="575" y="317"/>
                  </a:lnTo>
                  <a:lnTo>
                    <a:pt x="612" y="345"/>
                  </a:lnTo>
                  <a:lnTo>
                    <a:pt x="583" y="391"/>
                  </a:lnTo>
                  <a:lnTo>
                    <a:pt x="665" y="494"/>
                  </a:lnTo>
                  <a:lnTo>
                    <a:pt x="611" y="567"/>
                  </a:lnTo>
                  <a:lnTo>
                    <a:pt x="462" y="543"/>
                  </a:lnTo>
                  <a:lnTo>
                    <a:pt x="428" y="495"/>
                  </a:lnTo>
                  <a:lnTo>
                    <a:pt x="327" y="511"/>
                  </a:lnTo>
                  <a:lnTo>
                    <a:pt x="252" y="467"/>
                  </a:lnTo>
                  <a:lnTo>
                    <a:pt x="202" y="380"/>
                  </a:lnTo>
                  <a:lnTo>
                    <a:pt x="164" y="366"/>
                  </a:lnTo>
                  <a:lnTo>
                    <a:pt x="155" y="384"/>
                  </a:lnTo>
                  <a:lnTo>
                    <a:pt x="108" y="296"/>
                  </a:lnTo>
                  <a:lnTo>
                    <a:pt x="44" y="243"/>
                  </a:lnTo>
                  <a:lnTo>
                    <a:pt x="74" y="160"/>
                  </a:lnTo>
                  <a:lnTo>
                    <a:pt x="47" y="150"/>
                  </a:lnTo>
                  <a:lnTo>
                    <a:pt x="22" y="105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2" name="Freeform 94"/>
            <p:cNvSpPr>
              <a:spLocks noChangeAspect="1"/>
            </p:cNvSpPr>
            <p:nvPr/>
          </p:nvSpPr>
          <p:spPr bwMode="gray">
            <a:xfrm>
              <a:off x="5224732" y="3126889"/>
              <a:ext cx="249625" cy="273746"/>
            </a:xfrm>
            <a:custGeom>
              <a:avLst/>
              <a:gdLst>
                <a:gd name="T0" fmla="*/ 0 w 345"/>
                <a:gd name="T1" fmla="*/ 15 h 315"/>
                <a:gd name="T2" fmla="*/ 0 w 345"/>
                <a:gd name="T3" fmla="*/ 19 h 315"/>
                <a:gd name="T4" fmla="*/ 4 w 345"/>
                <a:gd name="T5" fmla="*/ 26 h 315"/>
                <a:gd name="T6" fmla="*/ 4 w 345"/>
                <a:gd name="T7" fmla="*/ 28 h 315"/>
                <a:gd name="T8" fmla="*/ 4 w 345"/>
                <a:gd name="T9" fmla="*/ 30 h 315"/>
                <a:gd name="T10" fmla="*/ 6 w 345"/>
                <a:gd name="T11" fmla="*/ 31 h 315"/>
                <a:gd name="T12" fmla="*/ 7 w 345"/>
                <a:gd name="T13" fmla="*/ 28 h 315"/>
                <a:gd name="T14" fmla="*/ 7 w 345"/>
                <a:gd name="T15" fmla="*/ 27 h 315"/>
                <a:gd name="T16" fmla="*/ 6 w 345"/>
                <a:gd name="T17" fmla="*/ 19 h 315"/>
                <a:gd name="T18" fmla="*/ 5 w 345"/>
                <a:gd name="T19" fmla="*/ 14 h 315"/>
                <a:gd name="T20" fmla="*/ 6 w 345"/>
                <a:gd name="T21" fmla="*/ 5 h 315"/>
                <a:gd name="T22" fmla="*/ 5 w 345"/>
                <a:gd name="T23" fmla="*/ 4 h 315"/>
                <a:gd name="T24" fmla="*/ 4 w 345"/>
                <a:gd name="T25" fmla="*/ 0 h 315"/>
                <a:gd name="T26" fmla="*/ 3 w 345"/>
                <a:gd name="T27" fmla="*/ 1 h 315"/>
                <a:gd name="T28" fmla="*/ 2 w 345"/>
                <a:gd name="T29" fmla="*/ 3 h 315"/>
                <a:gd name="T30" fmla="*/ 2 w 345"/>
                <a:gd name="T31" fmla="*/ 10 h 315"/>
                <a:gd name="T32" fmla="*/ 0 w 345"/>
                <a:gd name="T33" fmla="*/ 15 h 3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5"/>
                <a:gd name="T52" fmla="*/ 0 h 315"/>
                <a:gd name="T53" fmla="*/ 345 w 345"/>
                <a:gd name="T54" fmla="*/ 315 h 3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5" h="315">
                  <a:moveTo>
                    <a:pt x="0" y="153"/>
                  </a:moveTo>
                  <a:lnTo>
                    <a:pt x="17" y="198"/>
                  </a:lnTo>
                  <a:lnTo>
                    <a:pt x="173" y="268"/>
                  </a:lnTo>
                  <a:lnTo>
                    <a:pt x="175" y="294"/>
                  </a:lnTo>
                  <a:lnTo>
                    <a:pt x="211" y="311"/>
                  </a:lnTo>
                  <a:lnTo>
                    <a:pt x="275" y="315"/>
                  </a:lnTo>
                  <a:lnTo>
                    <a:pt x="326" y="283"/>
                  </a:lnTo>
                  <a:lnTo>
                    <a:pt x="345" y="279"/>
                  </a:lnTo>
                  <a:lnTo>
                    <a:pt x="298" y="191"/>
                  </a:lnTo>
                  <a:lnTo>
                    <a:pt x="234" y="138"/>
                  </a:lnTo>
                  <a:lnTo>
                    <a:pt x="264" y="55"/>
                  </a:lnTo>
                  <a:lnTo>
                    <a:pt x="237" y="45"/>
                  </a:lnTo>
                  <a:lnTo>
                    <a:pt x="212" y="0"/>
                  </a:lnTo>
                  <a:lnTo>
                    <a:pt x="135" y="4"/>
                  </a:lnTo>
                  <a:lnTo>
                    <a:pt x="97" y="32"/>
                  </a:lnTo>
                  <a:lnTo>
                    <a:pt x="84" y="108"/>
                  </a:lnTo>
                  <a:lnTo>
                    <a:pt x="0" y="15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3" name="Freeform 95"/>
            <p:cNvSpPr>
              <a:spLocks noChangeAspect="1"/>
            </p:cNvSpPr>
            <p:nvPr/>
          </p:nvSpPr>
          <p:spPr bwMode="gray">
            <a:xfrm>
              <a:off x="4425318" y="2773508"/>
              <a:ext cx="295569" cy="331813"/>
            </a:xfrm>
            <a:custGeom>
              <a:avLst/>
              <a:gdLst>
                <a:gd name="T0" fmla="*/ 0 w 408"/>
                <a:gd name="T1" fmla="*/ 9 h 381"/>
                <a:gd name="T2" fmla="*/ 0 w 408"/>
                <a:gd name="T3" fmla="*/ 5 h 381"/>
                <a:gd name="T4" fmla="*/ 1 w 408"/>
                <a:gd name="T5" fmla="*/ 3 h 381"/>
                <a:gd name="T6" fmla="*/ 2 w 408"/>
                <a:gd name="T7" fmla="*/ 5 h 381"/>
                <a:gd name="T8" fmla="*/ 3 w 408"/>
                <a:gd name="T9" fmla="*/ 1 h 381"/>
                <a:gd name="T10" fmla="*/ 4 w 408"/>
                <a:gd name="T11" fmla="*/ 0 h 381"/>
                <a:gd name="T12" fmla="*/ 5 w 408"/>
                <a:gd name="T13" fmla="*/ 3 h 381"/>
                <a:gd name="T14" fmla="*/ 5 w 408"/>
                <a:gd name="T15" fmla="*/ 7 h 381"/>
                <a:gd name="T16" fmla="*/ 4 w 408"/>
                <a:gd name="T17" fmla="*/ 8 h 381"/>
                <a:gd name="T18" fmla="*/ 4 w 408"/>
                <a:gd name="T19" fmla="*/ 13 h 381"/>
                <a:gd name="T20" fmla="*/ 6 w 408"/>
                <a:gd name="T21" fmla="*/ 22 h 381"/>
                <a:gd name="T22" fmla="*/ 7 w 408"/>
                <a:gd name="T23" fmla="*/ 22 h 381"/>
                <a:gd name="T24" fmla="*/ 7 w 408"/>
                <a:gd name="T25" fmla="*/ 24 h 381"/>
                <a:gd name="T26" fmla="*/ 9 w 408"/>
                <a:gd name="T27" fmla="*/ 29 h 381"/>
                <a:gd name="T28" fmla="*/ 8 w 408"/>
                <a:gd name="T29" fmla="*/ 29 h 381"/>
                <a:gd name="T30" fmla="*/ 8 w 408"/>
                <a:gd name="T31" fmla="*/ 34 h 381"/>
                <a:gd name="T32" fmla="*/ 7 w 408"/>
                <a:gd name="T33" fmla="*/ 38 h 381"/>
                <a:gd name="T34" fmla="*/ 7 w 408"/>
                <a:gd name="T35" fmla="*/ 30 h 381"/>
                <a:gd name="T36" fmla="*/ 3 w 408"/>
                <a:gd name="T37" fmla="*/ 20 h 381"/>
                <a:gd name="T38" fmla="*/ 2 w 408"/>
                <a:gd name="T39" fmla="*/ 14 h 381"/>
                <a:gd name="T40" fmla="*/ 1 w 408"/>
                <a:gd name="T41" fmla="*/ 12 h 381"/>
                <a:gd name="T42" fmla="*/ 0 w 408"/>
                <a:gd name="T43" fmla="*/ 14 h 381"/>
                <a:gd name="T44" fmla="*/ 0 w 408"/>
                <a:gd name="T45" fmla="*/ 9 h 38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08"/>
                <a:gd name="T70" fmla="*/ 0 h 381"/>
                <a:gd name="T71" fmla="*/ 408 w 408"/>
                <a:gd name="T72" fmla="*/ 381 h 38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08" h="381">
                  <a:moveTo>
                    <a:pt x="0" y="95"/>
                  </a:moveTo>
                  <a:lnTo>
                    <a:pt x="11" y="51"/>
                  </a:lnTo>
                  <a:lnTo>
                    <a:pt x="59" y="30"/>
                  </a:lnTo>
                  <a:lnTo>
                    <a:pt x="81" y="50"/>
                  </a:lnTo>
                  <a:lnTo>
                    <a:pt x="130" y="10"/>
                  </a:lnTo>
                  <a:lnTo>
                    <a:pt x="184" y="0"/>
                  </a:lnTo>
                  <a:lnTo>
                    <a:pt x="242" y="27"/>
                  </a:lnTo>
                  <a:lnTo>
                    <a:pt x="242" y="68"/>
                  </a:lnTo>
                  <a:lnTo>
                    <a:pt x="195" y="76"/>
                  </a:lnTo>
                  <a:lnTo>
                    <a:pt x="200" y="127"/>
                  </a:lnTo>
                  <a:lnTo>
                    <a:pt x="277" y="213"/>
                  </a:lnTo>
                  <a:lnTo>
                    <a:pt x="326" y="219"/>
                  </a:lnTo>
                  <a:lnTo>
                    <a:pt x="321" y="237"/>
                  </a:lnTo>
                  <a:lnTo>
                    <a:pt x="408" y="293"/>
                  </a:lnTo>
                  <a:lnTo>
                    <a:pt x="348" y="285"/>
                  </a:lnTo>
                  <a:lnTo>
                    <a:pt x="361" y="339"/>
                  </a:lnTo>
                  <a:lnTo>
                    <a:pt x="326" y="381"/>
                  </a:lnTo>
                  <a:lnTo>
                    <a:pt x="310" y="294"/>
                  </a:lnTo>
                  <a:lnTo>
                    <a:pt x="157" y="199"/>
                  </a:lnTo>
                  <a:lnTo>
                    <a:pt x="121" y="136"/>
                  </a:lnTo>
                  <a:lnTo>
                    <a:pt x="72" y="115"/>
                  </a:lnTo>
                  <a:lnTo>
                    <a:pt x="28" y="142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4" name="Freeform 96"/>
            <p:cNvSpPr>
              <a:spLocks noChangeAspect="1"/>
            </p:cNvSpPr>
            <p:nvPr/>
          </p:nvSpPr>
          <p:spPr bwMode="gray">
            <a:xfrm>
              <a:off x="4463605" y="2987528"/>
              <a:ext cx="38286" cy="79635"/>
            </a:xfrm>
            <a:custGeom>
              <a:avLst/>
              <a:gdLst>
                <a:gd name="T0" fmla="*/ 0 w 50"/>
                <a:gd name="T1" fmla="*/ 1 h 93"/>
                <a:gd name="T2" fmla="*/ 1 w 50"/>
                <a:gd name="T3" fmla="*/ 7 h 93"/>
                <a:gd name="T4" fmla="*/ 2 w 50"/>
                <a:gd name="T5" fmla="*/ 7 h 93"/>
                <a:gd name="T6" fmla="*/ 3 w 50"/>
                <a:gd name="T7" fmla="*/ 3 h 93"/>
                <a:gd name="T8" fmla="*/ 2 w 50"/>
                <a:gd name="T9" fmla="*/ 0 h 93"/>
                <a:gd name="T10" fmla="*/ 0 w 50"/>
                <a:gd name="T11" fmla="*/ 1 h 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0"/>
                <a:gd name="T19" fmla="*/ 0 h 93"/>
                <a:gd name="T20" fmla="*/ 50 w 50"/>
                <a:gd name="T21" fmla="*/ 93 h 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0" h="93">
                  <a:moveTo>
                    <a:pt x="0" y="14"/>
                  </a:moveTo>
                  <a:lnTo>
                    <a:pt x="9" y="85"/>
                  </a:lnTo>
                  <a:lnTo>
                    <a:pt x="29" y="93"/>
                  </a:lnTo>
                  <a:lnTo>
                    <a:pt x="50" y="37"/>
                  </a:lnTo>
                  <a:lnTo>
                    <a:pt x="31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5" name="Freeform 97"/>
            <p:cNvSpPr>
              <a:spLocks noChangeAspect="1"/>
            </p:cNvSpPr>
            <p:nvPr/>
          </p:nvSpPr>
          <p:spPr bwMode="gray">
            <a:xfrm>
              <a:off x="4570806" y="3092049"/>
              <a:ext cx="79635" cy="51431"/>
            </a:xfrm>
            <a:custGeom>
              <a:avLst/>
              <a:gdLst>
                <a:gd name="T0" fmla="*/ 0 w 108"/>
                <a:gd name="T1" fmla="*/ 1 h 61"/>
                <a:gd name="T2" fmla="*/ 2 w 108"/>
                <a:gd name="T3" fmla="*/ 4 h 61"/>
                <a:gd name="T4" fmla="*/ 3 w 108"/>
                <a:gd name="T5" fmla="*/ 0 h 61"/>
                <a:gd name="T6" fmla="*/ 0 w 108"/>
                <a:gd name="T7" fmla="*/ 1 h 6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8"/>
                <a:gd name="T13" fmla="*/ 0 h 61"/>
                <a:gd name="T14" fmla="*/ 108 w 108"/>
                <a:gd name="T15" fmla="*/ 61 h 6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8" h="61">
                  <a:moveTo>
                    <a:pt x="0" y="14"/>
                  </a:moveTo>
                  <a:lnTo>
                    <a:pt x="91" y="61"/>
                  </a:lnTo>
                  <a:lnTo>
                    <a:pt x="108" y="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6" name="Freeform 98"/>
            <p:cNvSpPr>
              <a:spLocks noChangeAspect="1"/>
            </p:cNvSpPr>
            <p:nvPr/>
          </p:nvSpPr>
          <p:spPr bwMode="gray">
            <a:xfrm>
              <a:off x="7503521" y="3246342"/>
              <a:ext cx="56663" cy="82953"/>
            </a:xfrm>
            <a:custGeom>
              <a:avLst/>
              <a:gdLst>
                <a:gd name="T0" fmla="*/ 0 w 81"/>
                <a:gd name="T1" fmla="*/ 2 h 97"/>
                <a:gd name="T2" fmla="*/ 0 w 81"/>
                <a:gd name="T3" fmla="*/ 4 h 97"/>
                <a:gd name="T4" fmla="*/ 0 w 81"/>
                <a:gd name="T5" fmla="*/ 2 h 97"/>
                <a:gd name="T6" fmla="*/ 0 w 81"/>
                <a:gd name="T7" fmla="*/ 3 h 97"/>
                <a:gd name="T8" fmla="*/ 0 w 81"/>
                <a:gd name="T9" fmla="*/ 7 h 97"/>
                <a:gd name="T10" fmla="*/ 1 w 81"/>
                <a:gd name="T11" fmla="*/ 7 h 97"/>
                <a:gd name="T12" fmla="*/ 1 w 81"/>
                <a:gd name="T13" fmla="*/ 3 h 97"/>
                <a:gd name="T14" fmla="*/ 1 w 81"/>
                <a:gd name="T15" fmla="*/ 1 h 97"/>
                <a:gd name="T16" fmla="*/ 0 w 81"/>
                <a:gd name="T17" fmla="*/ 0 h 97"/>
                <a:gd name="T18" fmla="*/ 0 w 81"/>
                <a:gd name="T19" fmla="*/ 2 h 9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1"/>
                <a:gd name="T31" fmla="*/ 0 h 97"/>
                <a:gd name="T32" fmla="*/ 81 w 81"/>
                <a:gd name="T33" fmla="*/ 97 h 9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1" h="97">
                  <a:moveTo>
                    <a:pt x="0" y="26"/>
                  </a:moveTo>
                  <a:lnTo>
                    <a:pt x="3" y="50"/>
                  </a:lnTo>
                  <a:lnTo>
                    <a:pt x="21" y="26"/>
                  </a:lnTo>
                  <a:lnTo>
                    <a:pt x="30" y="40"/>
                  </a:lnTo>
                  <a:lnTo>
                    <a:pt x="20" y="97"/>
                  </a:lnTo>
                  <a:lnTo>
                    <a:pt x="59" y="95"/>
                  </a:lnTo>
                  <a:lnTo>
                    <a:pt x="81" y="38"/>
                  </a:lnTo>
                  <a:lnTo>
                    <a:pt x="69" y="5"/>
                  </a:lnTo>
                  <a:lnTo>
                    <a:pt x="32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7" name="Freeform 99"/>
            <p:cNvSpPr>
              <a:spLocks noChangeAspect="1"/>
            </p:cNvSpPr>
            <p:nvPr/>
          </p:nvSpPr>
          <p:spPr bwMode="gray">
            <a:xfrm>
              <a:off x="7531087" y="2985869"/>
              <a:ext cx="281786" cy="270427"/>
            </a:xfrm>
            <a:custGeom>
              <a:avLst/>
              <a:gdLst>
                <a:gd name="T0" fmla="*/ 0 w 391"/>
                <a:gd name="T1" fmla="*/ 25 h 314"/>
                <a:gd name="T2" fmla="*/ 1 w 391"/>
                <a:gd name="T3" fmla="*/ 20 h 314"/>
                <a:gd name="T4" fmla="*/ 3 w 391"/>
                <a:gd name="T5" fmla="*/ 20 h 314"/>
                <a:gd name="T6" fmla="*/ 4 w 391"/>
                <a:gd name="T7" fmla="*/ 14 h 314"/>
                <a:gd name="T8" fmla="*/ 4 w 391"/>
                <a:gd name="T9" fmla="*/ 13 h 314"/>
                <a:gd name="T10" fmla="*/ 4 w 391"/>
                <a:gd name="T11" fmla="*/ 16 h 314"/>
                <a:gd name="T12" fmla="*/ 5 w 391"/>
                <a:gd name="T13" fmla="*/ 13 h 314"/>
                <a:gd name="T14" fmla="*/ 6 w 391"/>
                <a:gd name="T15" fmla="*/ 9 h 314"/>
                <a:gd name="T16" fmla="*/ 7 w 391"/>
                <a:gd name="T17" fmla="*/ 2 h 314"/>
                <a:gd name="T18" fmla="*/ 7 w 391"/>
                <a:gd name="T19" fmla="*/ 2 h 314"/>
                <a:gd name="T20" fmla="*/ 7 w 391"/>
                <a:gd name="T21" fmla="*/ 0 h 314"/>
                <a:gd name="T22" fmla="*/ 7 w 391"/>
                <a:gd name="T23" fmla="*/ 1 h 314"/>
                <a:gd name="T24" fmla="*/ 8 w 391"/>
                <a:gd name="T25" fmla="*/ 6 h 314"/>
                <a:gd name="T26" fmla="*/ 7 w 391"/>
                <a:gd name="T27" fmla="*/ 11 h 314"/>
                <a:gd name="T28" fmla="*/ 7 w 391"/>
                <a:gd name="T29" fmla="*/ 15 h 314"/>
                <a:gd name="T30" fmla="*/ 7 w 391"/>
                <a:gd name="T31" fmla="*/ 21 h 314"/>
                <a:gd name="T32" fmla="*/ 6 w 391"/>
                <a:gd name="T33" fmla="*/ 22 h 314"/>
                <a:gd name="T34" fmla="*/ 6 w 391"/>
                <a:gd name="T35" fmla="*/ 20 h 314"/>
                <a:gd name="T36" fmla="*/ 5 w 391"/>
                <a:gd name="T37" fmla="*/ 23 h 314"/>
                <a:gd name="T38" fmla="*/ 4 w 391"/>
                <a:gd name="T39" fmla="*/ 22 h 314"/>
                <a:gd name="T40" fmla="*/ 4 w 391"/>
                <a:gd name="T41" fmla="*/ 24 h 314"/>
                <a:gd name="T42" fmla="*/ 3 w 391"/>
                <a:gd name="T43" fmla="*/ 26 h 314"/>
                <a:gd name="T44" fmla="*/ 3 w 391"/>
                <a:gd name="T45" fmla="*/ 23 h 314"/>
                <a:gd name="T46" fmla="*/ 0 w 391"/>
                <a:gd name="T47" fmla="*/ 25 h 3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91"/>
                <a:gd name="T73" fmla="*/ 0 h 314"/>
                <a:gd name="T74" fmla="*/ 391 w 391"/>
                <a:gd name="T75" fmla="*/ 314 h 3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91" h="314">
                  <a:moveTo>
                    <a:pt x="0" y="296"/>
                  </a:moveTo>
                  <a:lnTo>
                    <a:pt x="70" y="237"/>
                  </a:lnTo>
                  <a:lnTo>
                    <a:pt x="169" y="237"/>
                  </a:lnTo>
                  <a:lnTo>
                    <a:pt x="208" y="165"/>
                  </a:lnTo>
                  <a:lnTo>
                    <a:pt x="225" y="160"/>
                  </a:lnTo>
                  <a:lnTo>
                    <a:pt x="226" y="187"/>
                  </a:lnTo>
                  <a:lnTo>
                    <a:pt x="271" y="160"/>
                  </a:lnTo>
                  <a:lnTo>
                    <a:pt x="309" y="105"/>
                  </a:lnTo>
                  <a:lnTo>
                    <a:pt x="326" y="16"/>
                  </a:lnTo>
                  <a:lnTo>
                    <a:pt x="357" y="20"/>
                  </a:lnTo>
                  <a:lnTo>
                    <a:pt x="347" y="0"/>
                  </a:lnTo>
                  <a:lnTo>
                    <a:pt x="367" y="1"/>
                  </a:lnTo>
                  <a:lnTo>
                    <a:pt x="391" y="76"/>
                  </a:lnTo>
                  <a:lnTo>
                    <a:pt x="357" y="129"/>
                  </a:lnTo>
                  <a:lnTo>
                    <a:pt x="357" y="177"/>
                  </a:lnTo>
                  <a:lnTo>
                    <a:pt x="333" y="248"/>
                  </a:lnTo>
                  <a:lnTo>
                    <a:pt x="315" y="258"/>
                  </a:lnTo>
                  <a:lnTo>
                    <a:pt x="314" y="231"/>
                  </a:lnTo>
                  <a:lnTo>
                    <a:pt x="257" y="272"/>
                  </a:lnTo>
                  <a:lnTo>
                    <a:pt x="208" y="254"/>
                  </a:lnTo>
                  <a:lnTo>
                    <a:pt x="211" y="288"/>
                  </a:lnTo>
                  <a:lnTo>
                    <a:pt x="170" y="314"/>
                  </a:lnTo>
                  <a:lnTo>
                    <a:pt x="158" y="269"/>
                  </a:lnTo>
                  <a:lnTo>
                    <a:pt x="0" y="29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8" name="Freeform 100"/>
            <p:cNvSpPr>
              <a:spLocks noChangeAspect="1"/>
            </p:cNvSpPr>
            <p:nvPr/>
          </p:nvSpPr>
          <p:spPr bwMode="gray">
            <a:xfrm>
              <a:off x="7564778" y="3234728"/>
              <a:ext cx="58195" cy="46454"/>
            </a:xfrm>
            <a:custGeom>
              <a:avLst/>
              <a:gdLst>
                <a:gd name="T0" fmla="*/ 0 w 81"/>
                <a:gd name="T1" fmla="*/ 2 h 56"/>
                <a:gd name="T2" fmla="*/ 0 w 81"/>
                <a:gd name="T3" fmla="*/ 3 h 56"/>
                <a:gd name="T4" fmla="*/ 1 w 81"/>
                <a:gd name="T5" fmla="*/ 2 h 56"/>
                <a:gd name="T6" fmla="*/ 1 w 81"/>
                <a:gd name="T7" fmla="*/ 0 h 56"/>
                <a:gd name="T8" fmla="*/ 0 w 81"/>
                <a:gd name="T9" fmla="*/ 2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"/>
                <a:gd name="T16" fmla="*/ 0 h 56"/>
                <a:gd name="T17" fmla="*/ 81 w 81"/>
                <a:gd name="T18" fmla="*/ 56 h 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" h="56">
                  <a:moveTo>
                    <a:pt x="0" y="29"/>
                  </a:moveTo>
                  <a:lnTo>
                    <a:pt x="27" y="56"/>
                  </a:lnTo>
                  <a:lnTo>
                    <a:pt x="74" y="35"/>
                  </a:lnTo>
                  <a:lnTo>
                    <a:pt x="81" y="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99" name="Freeform 101"/>
            <p:cNvSpPr>
              <a:spLocks noChangeAspect="1"/>
            </p:cNvSpPr>
            <p:nvPr/>
          </p:nvSpPr>
          <p:spPr bwMode="gray">
            <a:xfrm>
              <a:off x="7759272" y="2838212"/>
              <a:ext cx="145487" cy="147657"/>
            </a:xfrm>
            <a:custGeom>
              <a:avLst/>
              <a:gdLst>
                <a:gd name="T0" fmla="*/ 0 w 203"/>
                <a:gd name="T1" fmla="*/ 13 h 169"/>
                <a:gd name="T2" fmla="*/ 0 w 203"/>
                <a:gd name="T3" fmla="*/ 18 h 169"/>
                <a:gd name="T4" fmla="*/ 0 w 203"/>
                <a:gd name="T5" fmla="*/ 16 h 169"/>
                <a:gd name="T6" fmla="*/ 0 w 203"/>
                <a:gd name="T7" fmla="*/ 13 h 169"/>
                <a:gd name="T8" fmla="*/ 2 w 203"/>
                <a:gd name="T9" fmla="*/ 15 h 169"/>
                <a:gd name="T10" fmla="*/ 2 w 203"/>
                <a:gd name="T11" fmla="*/ 12 h 169"/>
                <a:gd name="T12" fmla="*/ 4 w 203"/>
                <a:gd name="T13" fmla="*/ 10 h 169"/>
                <a:gd name="T14" fmla="*/ 3 w 203"/>
                <a:gd name="T15" fmla="*/ 7 h 169"/>
                <a:gd name="T16" fmla="*/ 3 w 203"/>
                <a:gd name="T17" fmla="*/ 5 h 169"/>
                <a:gd name="T18" fmla="*/ 2 w 203"/>
                <a:gd name="T19" fmla="*/ 5 h 169"/>
                <a:gd name="T20" fmla="*/ 1 w 203"/>
                <a:gd name="T21" fmla="*/ 0 h 169"/>
                <a:gd name="T22" fmla="*/ 1 w 203"/>
                <a:gd name="T23" fmla="*/ 10 h 169"/>
                <a:gd name="T24" fmla="*/ 0 w 203"/>
                <a:gd name="T25" fmla="*/ 9 h 169"/>
                <a:gd name="T26" fmla="*/ 0 w 203"/>
                <a:gd name="T27" fmla="*/ 13 h 16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3"/>
                <a:gd name="T43" fmla="*/ 0 h 169"/>
                <a:gd name="T44" fmla="*/ 203 w 203"/>
                <a:gd name="T45" fmla="*/ 169 h 16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3" h="169">
                  <a:moveTo>
                    <a:pt x="0" y="120"/>
                  </a:moveTo>
                  <a:lnTo>
                    <a:pt x="9" y="169"/>
                  </a:lnTo>
                  <a:lnTo>
                    <a:pt x="44" y="151"/>
                  </a:lnTo>
                  <a:lnTo>
                    <a:pt x="20" y="121"/>
                  </a:lnTo>
                  <a:lnTo>
                    <a:pt x="118" y="147"/>
                  </a:lnTo>
                  <a:lnTo>
                    <a:pt x="140" y="108"/>
                  </a:lnTo>
                  <a:lnTo>
                    <a:pt x="203" y="95"/>
                  </a:lnTo>
                  <a:lnTo>
                    <a:pt x="181" y="69"/>
                  </a:lnTo>
                  <a:lnTo>
                    <a:pt x="189" y="46"/>
                  </a:lnTo>
                  <a:lnTo>
                    <a:pt x="135" y="50"/>
                  </a:lnTo>
                  <a:lnTo>
                    <a:pt x="70" y="0"/>
                  </a:lnTo>
                  <a:lnTo>
                    <a:pt x="47" y="96"/>
                  </a:lnTo>
                  <a:lnTo>
                    <a:pt x="19" y="91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0" name="Freeform 102"/>
            <p:cNvSpPr>
              <a:spLocks noChangeAspect="1"/>
            </p:cNvSpPr>
            <p:nvPr/>
          </p:nvSpPr>
          <p:spPr bwMode="gray">
            <a:xfrm>
              <a:off x="7370285" y="2931119"/>
              <a:ext cx="154676" cy="184156"/>
            </a:xfrm>
            <a:custGeom>
              <a:avLst/>
              <a:gdLst>
                <a:gd name="T0" fmla="*/ 0 w 221"/>
                <a:gd name="T1" fmla="*/ 12 h 212"/>
                <a:gd name="T2" fmla="*/ 0 w 221"/>
                <a:gd name="T3" fmla="*/ 13 h 212"/>
                <a:gd name="T4" fmla="*/ 0 w 221"/>
                <a:gd name="T5" fmla="*/ 19 h 212"/>
                <a:gd name="T6" fmla="*/ 1 w 221"/>
                <a:gd name="T7" fmla="*/ 20 h 212"/>
                <a:gd name="T8" fmla="*/ 2 w 221"/>
                <a:gd name="T9" fmla="*/ 17 h 212"/>
                <a:gd name="T10" fmla="*/ 1 w 221"/>
                <a:gd name="T11" fmla="*/ 12 h 212"/>
                <a:gd name="T12" fmla="*/ 2 w 221"/>
                <a:gd name="T13" fmla="*/ 8 h 212"/>
                <a:gd name="T14" fmla="*/ 3 w 221"/>
                <a:gd name="T15" fmla="*/ 2 h 212"/>
                <a:gd name="T16" fmla="*/ 3 w 221"/>
                <a:gd name="T17" fmla="*/ 1 h 212"/>
                <a:gd name="T18" fmla="*/ 2 w 221"/>
                <a:gd name="T19" fmla="*/ 0 h 212"/>
                <a:gd name="T20" fmla="*/ 2 w 221"/>
                <a:gd name="T21" fmla="*/ 4 h 212"/>
                <a:gd name="T22" fmla="*/ 2 w 221"/>
                <a:gd name="T23" fmla="*/ 6 h 212"/>
                <a:gd name="T24" fmla="*/ 1 w 221"/>
                <a:gd name="T25" fmla="*/ 5 h 212"/>
                <a:gd name="T26" fmla="*/ 0 w 221"/>
                <a:gd name="T27" fmla="*/ 12 h 2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1"/>
                <a:gd name="T43" fmla="*/ 0 h 212"/>
                <a:gd name="T44" fmla="*/ 221 w 221"/>
                <a:gd name="T45" fmla="*/ 212 h 2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1" h="212">
                  <a:moveTo>
                    <a:pt x="0" y="120"/>
                  </a:moveTo>
                  <a:lnTo>
                    <a:pt x="41" y="137"/>
                  </a:lnTo>
                  <a:lnTo>
                    <a:pt x="15" y="198"/>
                  </a:lnTo>
                  <a:lnTo>
                    <a:pt x="77" y="212"/>
                  </a:lnTo>
                  <a:lnTo>
                    <a:pt x="142" y="175"/>
                  </a:lnTo>
                  <a:lnTo>
                    <a:pt x="112" y="125"/>
                  </a:lnTo>
                  <a:lnTo>
                    <a:pt x="186" y="81"/>
                  </a:lnTo>
                  <a:lnTo>
                    <a:pt x="221" y="20"/>
                  </a:lnTo>
                  <a:lnTo>
                    <a:pt x="216" y="11"/>
                  </a:lnTo>
                  <a:lnTo>
                    <a:pt x="202" y="0"/>
                  </a:lnTo>
                  <a:lnTo>
                    <a:pt x="136" y="39"/>
                  </a:lnTo>
                  <a:lnTo>
                    <a:pt x="136" y="62"/>
                  </a:lnTo>
                  <a:lnTo>
                    <a:pt x="88" y="55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1" name="Freeform 103"/>
            <p:cNvSpPr>
              <a:spLocks noChangeAspect="1"/>
            </p:cNvSpPr>
            <p:nvPr/>
          </p:nvSpPr>
          <p:spPr bwMode="gray">
            <a:xfrm>
              <a:off x="7411634" y="3082094"/>
              <a:ext cx="90355" cy="142680"/>
            </a:xfrm>
            <a:custGeom>
              <a:avLst/>
              <a:gdLst>
                <a:gd name="T0" fmla="*/ 0 w 121"/>
                <a:gd name="T1" fmla="*/ 13 h 166"/>
                <a:gd name="T2" fmla="*/ 0 w 121"/>
                <a:gd name="T3" fmla="*/ 3 h 166"/>
                <a:gd name="T4" fmla="*/ 2 w 121"/>
                <a:gd name="T5" fmla="*/ 0 h 166"/>
                <a:gd name="T6" fmla="*/ 4 w 121"/>
                <a:gd name="T7" fmla="*/ 8 h 166"/>
                <a:gd name="T8" fmla="*/ 2 w 121"/>
                <a:gd name="T9" fmla="*/ 12 h 166"/>
                <a:gd name="T10" fmla="*/ 0 w 121"/>
                <a:gd name="T11" fmla="*/ 13 h 1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1"/>
                <a:gd name="T19" fmla="*/ 0 h 166"/>
                <a:gd name="T20" fmla="*/ 121 w 121"/>
                <a:gd name="T21" fmla="*/ 166 h 1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1" h="166">
                  <a:moveTo>
                    <a:pt x="0" y="166"/>
                  </a:moveTo>
                  <a:lnTo>
                    <a:pt x="13" y="37"/>
                  </a:lnTo>
                  <a:lnTo>
                    <a:pt x="78" y="0"/>
                  </a:lnTo>
                  <a:lnTo>
                    <a:pt x="121" y="101"/>
                  </a:lnTo>
                  <a:lnTo>
                    <a:pt x="76" y="149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2" name="Freeform 104"/>
            <p:cNvSpPr>
              <a:spLocks noChangeAspect="1"/>
            </p:cNvSpPr>
            <p:nvPr/>
          </p:nvSpPr>
          <p:spPr bwMode="gray">
            <a:xfrm>
              <a:off x="6765365" y="3611336"/>
              <a:ext cx="180710" cy="250519"/>
            </a:xfrm>
            <a:custGeom>
              <a:avLst/>
              <a:gdLst>
                <a:gd name="T0" fmla="*/ 0 w 249"/>
                <a:gd name="T1" fmla="*/ 6 h 290"/>
                <a:gd name="T2" fmla="*/ 0 w 249"/>
                <a:gd name="T3" fmla="*/ 9 h 290"/>
                <a:gd name="T4" fmla="*/ 0 w 249"/>
                <a:gd name="T5" fmla="*/ 16 h 290"/>
                <a:gd name="T6" fmla="*/ 2 w 249"/>
                <a:gd name="T7" fmla="*/ 12 h 290"/>
                <a:gd name="T8" fmla="*/ 3 w 249"/>
                <a:gd name="T9" fmla="*/ 16 h 290"/>
                <a:gd name="T10" fmla="*/ 4 w 249"/>
                <a:gd name="T11" fmla="*/ 22 h 290"/>
                <a:gd name="T12" fmla="*/ 4 w 249"/>
                <a:gd name="T13" fmla="*/ 26 h 290"/>
                <a:gd name="T14" fmla="*/ 5 w 249"/>
                <a:gd name="T15" fmla="*/ 24 h 290"/>
                <a:gd name="T16" fmla="*/ 4 w 249"/>
                <a:gd name="T17" fmla="*/ 17 h 290"/>
                <a:gd name="T18" fmla="*/ 3 w 249"/>
                <a:gd name="T19" fmla="*/ 10 h 290"/>
                <a:gd name="T20" fmla="*/ 3 w 249"/>
                <a:gd name="T21" fmla="*/ 7 h 290"/>
                <a:gd name="T22" fmla="*/ 2 w 249"/>
                <a:gd name="T23" fmla="*/ 5 h 290"/>
                <a:gd name="T24" fmla="*/ 1 w 249"/>
                <a:gd name="T25" fmla="*/ 0 h 290"/>
                <a:gd name="T26" fmla="*/ 1 w 249"/>
                <a:gd name="T27" fmla="*/ 1 h 290"/>
                <a:gd name="T28" fmla="*/ 1 w 249"/>
                <a:gd name="T29" fmla="*/ 4 h 290"/>
                <a:gd name="T30" fmla="*/ 0 w 249"/>
                <a:gd name="T31" fmla="*/ 3 h 290"/>
                <a:gd name="T32" fmla="*/ 0 w 249"/>
                <a:gd name="T33" fmla="*/ 6 h 29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9"/>
                <a:gd name="T52" fmla="*/ 0 h 290"/>
                <a:gd name="T53" fmla="*/ 249 w 249"/>
                <a:gd name="T54" fmla="*/ 290 h 29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9" h="290">
                  <a:moveTo>
                    <a:pt x="0" y="64"/>
                  </a:moveTo>
                  <a:lnTo>
                    <a:pt x="33" y="105"/>
                  </a:lnTo>
                  <a:lnTo>
                    <a:pt x="23" y="176"/>
                  </a:lnTo>
                  <a:lnTo>
                    <a:pt x="111" y="144"/>
                  </a:lnTo>
                  <a:lnTo>
                    <a:pt x="149" y="176"/>
                  </a:lnTo>
                  <a:lnTo>
                    <a:pt x="182" y="246"/>
                  </a:lnTo>
                  <a:lnTo>
                    <a:pt x="170" y="290"/>
                  </a:lnTo>
                  <a:lnTo>
                    <a:pt x="249" y="278"/>
                  </a:lnTo>
                  <a:lnTo>
                    <a:pt x="211" y="185"/>
                  </a:lnTo>
                  <a:lnTo>
                    <a:pt x="127" y="116"/>
                  </a:lnTo>
                  <a:lnTo>
                    <a:pt x="150" y="76"/>
                  </a:lnTo>
                  <a:lnTo>
                    <a:pt x="103" y="55"/>
                  </a:lnTo>
                  <a:lnTo>
                    <a:pt x="67" y="0"/>
                  </a:lnTo>
                  <a:lnTo>
                    <a:pt x="46" y="1"/>
                  </a:lnTo>
                  <a:lnTo>
                    <a:pt x="49" y="40"/>
                  </a:lnTo>
                  <a:lnTo>
                    <a:pt x="33" y="31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3" name="Freeform 105"/>
            <p:cNvSpPr>
              <a:spLocks noChangeAspect="1"/>
            </p:cNvSpPr>
            <p:nvPr/>
          </p:nvSpPr>
          <p:spPr bwMode="gray">
            <a:xfrm>
              <a:off x="4400815" y="2657374"/>
              <a:ext cx="12252" cy="26545"/>
            </a:xfrm>
            <a:custGeom>
              <a:avLst/>
              <a:gdLst>
                <a:gd name="T0" fmla="*/ 0 w 17"/>
                <a:gd name="T1" fmla="*/ 3 h 30"/>
                <a:gd name="T2" fmla="*/ 0 w 17"/>
                <a:gd name="T3" fmla="*/ 0 h 30"/>
                <a:gd name="T4" fmla="*/ 0 w 17"/>
                <a:gd name="T5" fmla="*/ 4 h 30"/>
                <a:gd name="T6" fmla="*/ 0 w 17"/>
                <a:gd name="T7" fmla="*/ 3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0"/>
                <a:gd name="T14" fmla="*/ 17 w 17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0">
                  <a:moveTo>
                    <a:pt x="0" y="23"/>
                  </a:moveTo>
                  <a:lnTo>
                    <a:pt x="13" y="0"/>
                  </a:lnTo>
                  <a:lnTo>
                    <a:pt x="17" y="3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4" name="Freeform 106"/>
            <p:cNvSpPr>
              <a:spLocks noChangeAspect="1"/>
            </p:cNvSpPr>
            <p:nvPr/>
          </p:nvSpPr>
          <p:spPr bwMode="gray">
            <a:xfrm>
              <a:off x="6766896" y="4097442"/>
              <a:ext cx="94950" cy="147657"/>
            </a:xfrm>
            <a:custGeom>
              <a:avLst/>
              <a:gdLst>
                <a:gd name="T0" fmla="*/ 0 w 130"/>
                <a:gd name="T1" fmla="*/ 0 h 172"/>
                <a:gd name="T2" fmla="*/ 0 w 130"/>
                <a:gd name="T3" fmla="*/ 0 h 172"/>
                <a:gd name="T4" fmla="*/ 1 w 130"/>
                <a:gd name="T5" fmla="*/ 3 h 172"/>
                <a:gd name="T6" fmla="*/ 1 w 130"/>
                <a:gd name="T7" fmla="*/ 1 h 172"/>
                <a:gd name="T8" fmla="*/ 2 w 130"/>
                <a:gd name="T9" fmla="*/ 4 h 172"/>
                <a:gd name="T10" fmla="*/ 3 w 130"/>
                <a:gd name="T11" fmla="*/ 14 h 172"/>
                <a:gd name="T12" fmla="*/ 3 w 130"/>
                <a:gd name="T13" fmla="*/ 14 h 172"/>
                <a:gd name="T14" fmla="*/ 1 w 130"/>
                <a:gd name="T15" fmla="*/ 10 h 172"/>
                <a:gd name="T16" fmla="*/ 0 w 130"/>
                <a:gd name="T17" fmla="*/ 0 h 17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0"/>
                <a:gd name="T28" fmla="*/ 0 h 172"/>
                <a:gd name="T29" fmla="*/ 130 w 130"/>
                <a:gd name="T30" fmla="*/ 172 h 17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0" h="172">
                  <a:moveTo>
                    <a:pt x="0" y="0"/>
                  </a:moveTo>
                  <a:lnTo>
                    <a:pt x="26" y="0"/>
                  </a:lnTo>
                  <a:lnTo>
                    <a:pt x="34" y="30"/>
                  </a:lnTo>
                  <a:lnTo>
                    <a:pt x="66" y="11"/>
                  </a:lnTo>
                  <a:lnTo>
                    <a:pt x="109" y="51"/>
                  </a:lnTo>
                  <a:lnTo>
                    <a:pt x="130" y="172"/>
                  </a:lnTo>
                  <a:lnTo>
                    <a:pt x="129" y="172"/>
                  </a:lnTo>
                  <a:lnTo>
                    <a:pt x="39" y="1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5" name="Freeform 107"/>
            <p:cNvSpPr>
              <a:spLocks noChangeAspect="1"/>
            </p:cNvSpPr>
            <p:nvPr/>
          </p:nvSpPr>
          <p:spPr bwMode="gray">
            <a:xfrm>
              <a:off x="7004270" y="4087487"/>
              <a:ext cx="237374" cy="179179"/>
            </a:xfrm>
            <a:custGeom>
              <a:avLst/>
              <a:gdLst>
                <a:gd name="T0" fmla="*/ 0 w 331"/>
                <a:gd name="T1" fmla="*/ 17 h 207"/>
                <a:gd name="T2" fmla="*/ 0 w 331"/>
                <a:gd name="T3" fmla="*/ 19 h 207"/>
                <a:gd name="T4" fmla="*/ 2 w 331"/>
                <a:gd name="T5" fmla="*/ 18 h 207"/>
                <a:gd name="T6" fmla="*/ 3 w 331"/>
                <a:gd name="T7" fmla="*/ 17 h 207"/>
                <a:gd name="T8" fmla="*/ 4 w 331"/>
                <a:gd name="T9" fmla="*/ 8 h 207"/>
                <a:gd name="T10" fmla="*/ 5 w 331"/>
                <a:gd name="T11" fmla="*/ 9 h 207"/>
                <a:gd name="T12" fmla="*/ 6 w 331"/>
                <a:gd name="T13" fmla="*/ 6 h 207"/>
                <a:gd name="T14" fmla="*/ 5 w 331"/>
                <a:gd name="T15" fmla="*/ 3 h 207"/>
                <a:gd name="T16" fmla="*/ 5 w 331"/>
                <a:gd name="T17" fmla="*/ 0 h 207"/>
                <a:gd name="T18" fmla="*/ 3 w 331"/>
                <a:gd name="T19" fmla="*/ 6 h 207"/>
                <a:gd name="T20" fmla="*/ 3 w 331"/>
                <a:gd name="T21" fmla="*/ 9 h 207"/>
                <a:gd name="T22" fmla="*/ 3 w 331"/>
                <a:gd name="T23" fmla="*/ 7 h 207"/>
                <a:gd name="T24" fmla="*/ 2 w 331"/>
                <a:gd name="T25" fmla="*/ 12 h 207"/>
                <a:gd name="T26" fmla="*/ 1 w 331"/>
                <a:gd name="T27" fmla="*/ 13 h 207"/>
                <a:gd name="T28" fmla="*/ 1 w 331"/>
                <a:gd name="T29" fmla="*/ 17 h 207"/>
                <a:gd name="T30" fmla="*/ 0 w 331"/>
                <a:gd name="T31" fmla="*/ 17 h 20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1"/>
                <a:gd name="T49" fmla="*/ 0 h 207"/>
                <a:gd name="T50" fmla="*/ 331 w 331"/>
                <a:gd name="T51" fmla="*/ 207 h 20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1" h="207">
                  <a:moveTo>
                    <a:pt x="0" y="184"/>
                  </a:moveTo>
                  <a:lnTo>
                    <a:pt x="28" y="207"/>
                  </a:lnTo>
                  <a:lnTo>
                    <a:pt x="133" y="198"/>
                  </a:lnTo>
                  <a:lnTo>
                    <a:pt x="167" y="186"/>
                  </a:lnTo>
                  <a:lnTo>
                    <a:pt x="213" y="91"/>
                  </a:lnTo>
                  <a:lnTo>
                    <a:pt x="273" y="94"/>
                  </a:lnTo>
                  <a:lnTo>
                    <a:pt x="331" y="61"/>
                  </a:lnTo>
                  <a:lnTo>
                    <a:pt x="276" y="34"/>
                  </a:lnTo>
                  <a:lnTo>
                    <a:pt x="259" y="0"/>
                  </a:lnTo>
                  <a:lnTo>
                    <a:pt x="191" y="65"/>
                  </a:lnTo>
                  <a:lnTo>
                    <a:pt x="170" y="100"/>
                  </a:lnTo>
                  <a:lnTo>
                    <a:pt x="149" y="80"/>
                  </a:lnTo>
                  <a:lnTo>
                    <a:pt x="109" y="132"/>
                  </a:lnTo>
                  <a:lnTo>
                    <a:pt x="65" y="138"/>
                  </a:lnTo>
                  <a:lnTo>
                    <a:pt x="50" y="186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6" name="Freeform 108"/>
            <p:cNvSpPr>
              <a:spLocks noChangeAspect="1"/>
            </p:cNvSpPr>
            <p:nvPr/>
          </p:nvSpPr>
          <p:spPr bwMode="gray">
            <a:xfrm>
              <a:off x="1334865" y="3282841"/>
              <a:ext cx="756533" cy="574036"/>
            </a:xfrm>
            <a:custGeom>
              <a:avLst/>
              <a:gdLst>
                <a:gd name="T0" fmla="*/ 0 w 1048"/>
                <a:gd name="T1" fmla="*/ 1 h 662"/>
                <a:gd name="T2" fmla="*/ 1 w 1048"/>
                <a:gd name="T3" fmla="*/ 10 h 662"/>
                <a:gd name="T4" fmla="*/ 2 w 1048"/>
                <a:gd name="T5" fmla="*/ 15 h 662"/>
                <a:gd name="T6" fmla="*/ 2 w 1048"/>
                <a:gd name="T7" fmla="*/ 17 h 662"/>
                <a:gd name="T8" fmla="*/ 1 w 1048"/>
                <a:gd name="T9" fmla="*/ 18 h 662"/>
                <a:gd name="T10" fmla="*/ 3 w 1048"/>
                <a:gd name="T11" fmla="*/ 20 h 662"/>
                <a:gd name="T12" fmla="*/ 4 w 1048"/>
                <a:gd name="T13" fmla="*/ 25 h 662"/>
                <a:gd name="T14" fmla="*/ 4 w 1048"/>
                <a:gd name="T15" fmla="*/ 28 h 662"/>
                <a:gd name="T16" fmla="*/ 5 w 1048"/>
                <a:gd name="T17" fmla="*/ 34 h 662"/>
                <a:gd name="T18" fmla="*/ 5 w 1048"/>
                <a:gd name="T19" fmla="*/ 32 h 662"/>
                <a:gd name="T20" fmla="*/ 2 w 1048"/>
                <a:gd name="T21" fmla="*/ 9 h 662"/>
                <a:gd name="T22" fmla="*/ 1 w 1048"/>
                <a:gd name="T23" fmla="*/ 3 h 662"/>
                <a:gd name="T24" fmla="*/ 2 w 1048"/>
                <a:gd name="T25" fmla="*/ 4 h 662"/>
                <a:gd name="T26" fmla="*/ 4 w 1048"/>
                <a:gd name="T27" fmla="*/ 15 h 662"/>
                <a:gd name="T28" fmla="*/ 6 w 1048"/>
                <a:gd name="T29" fmla="*/ 22 h 662"/>
                <a:gd name="T30" fmla="*/ 6 w 1048"/>
                <a:gd name="T31" fmla="*/ 25 h 662"/>
                <a:gd name="T32" fmla="*/ 8 w 1048"/>
                <a:gd name="T33" fmla="*/ 36 h 662"/>
                <a:gd name="T34" fmla="*/ 8 w 1048"/>
                <a:gd name="T35" fmla="*/ 40 h 662"/>
                <a:gd name="T36" fmla="*/ 8 w 1048"/>
                <a:gd name="T37" fmla="*/ 43 h 662"/>
                <a:gd name="T38" fmla="*/ 8 w 1048"/>
                <a:gd name="T39" fmla="*/ 47 h 662"/>
                <a:gd name="T40" fmla="*/ 14 w 1048"/>
                <a:gd name="T41" fmla="*/ 58 h 662"/>
                <a:gd name="T42" fmla="*/ 16 w 1048"/>
                <a:gd name="T43" fmla="*/ 57 h 662"/>
                <a:gd name="T44" fmla="*/ 17 w 1048"/>
                <a:gd name="T45" fmla="*/ 62 h 662"/>
                <a:gd name="T46" fmla="*/ 18 w 1048"/>
                <a:gd name="T47" fmla="*/ 57 h 662"/>
                <a:gd name="T48" fmla="*/ 18 w 1048"/>
                <a:gd name="T49" fmla="*/ 57 h 662"/>
                <a:gd name="T50" fmla="*/ 18 w 1048"/>
                <a:gd name="T51" fmla="*/ 53 h 662"/>
                <a:gd name="T52" fmla="*/ 19 w 1048"/>
                <a:gd name="T53" fmla="*/ 51 h 662"/>
                <a:gd name="T54" fmla="*/ 20 w 1048"/>
                <a:gd name="T55" fmla="*/ 49 h 662"/>
                <a:gd name="T56" fmla="*/ 20 w 1048"/>
                <a:gd name="T57" fmla="*/ 48 h 662"/>
                <a:gd name="T58" fmla="*/ 20 w 1048"/>
                <a:gd name="T59" fmla="*/ 50 h 662"/>
                <a:gd name="T60" fmla="*/ 21 w 1048"/>
                <a:gd name="T61" fmla="*/ 40 h 662"/>
                <a:gd name="T62" fmla="*/ 20 w 1048"/>
                <a:gd name="T63" fmla="*/ 39 h 662"/>
                <a:gd name="T64" fmla="*/ 18 w 1048"/>
                <a:gd name="T65" fmla="*/ 40 h 662"/>
                <a:gd name="T66" fmla="*/ 18 w 1048"/>
                <a:gd name="T67" fmla="*/ 49 h 662"/>
                <a:gd name="T68" fmla="*/ 16 w 1048"/>
                <a:gd name="T69" fmla="*/ 50 h 662"/>
                <a:gd name="T70" fmla="*/ 15 w 1048"/>
                <a:gd name="T71" fmla="*/ 48 h 662"/>
                <a:gd name="T72" fmla="*/ 13 w 1048"/>
                <a:gd name="T73" fmla="*/ 37 h 662"/>
                <a:gd name="T74" fmla="*/ 13 w 1048"/>
                <a:gd name="T75" fmla="*/ 28 h 662"/>
                <a:gd name="T76" fmla="*/ 14 w 1048"/>
                <a:gd name="T77" fmla="*/ 24 h 662"/>
                <a:gd name="T78" fmla="*/ 12 w 1048"/>
                <a:gd name="T79" fmla="*/ 22 h 662"/>
                <a:gd name="T80" fmla="*/ 11 w 1048"/>
                <a:gd name="T81" fmla="*/ 10 h 662"/>
                <a:gd name="T82" fmla="*/ 9 w 1048"/>
                <a:gd name="T83" fmla="*/ 13 h 662"/>
                <a:gd name="T84" fmla="*/ 8 w 1048"/>
                <a:gd name="T85" fmla="*/ 3 h 662"/>
                <a:gd name="T86" fmla="*/ 4 w 1048"/>
                <a:gd name="T87" fmla="*/ 5 h 662"/>
                <a:gd name="T88" fmla="*/ 1 w 1048"/>
                <a:gd name="T89" fmla="*/ 0 h 662"/>
                <a:gd name="T90" fmla="*/ 0 w 1048"/>
                <a:gd name="T91" fmla="*/ 1 h 66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48"/>
                <a:gd name="T139" fmla="*/ 0 h 662"/>
                <a:gd name="T140" fmla="*/ 1048 w 1048"/>
                <a:gd name="T141" fmla="*/ 662 h 66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48" h="662">
                  <a:moveTo>
                    <a:pt x="0" y="6"/>
                  </a:moveTo>
                  <a:lnTo>
                    <a:pt x="50" y="110"/>
                  </a:lnTo>
                  <a:lnTo>
                    <a:pt x="109" y="157"/>
                  </a:lnTo>
                  <a:lnTo>
                    <a:pt x="104" y="186"/>
                  </a:lnTo>
                  <a:lnTo>
                    <a:pt x="74" y="191"/>
                  </a:lnTo>
                  <a:lnTo>
                    <a:pt x="140" y="214"/>
                  </a:lnTo>
                  <a:lnTo>
                    <a:pt x="176" y="261"/>
                  </a:lnTo>
                  <a:lnTo>
                    <a:pt x="172" y="300"/>
                  </a:lnTo>
                  <a:lnTo>
                    <a:pt x="248" y="365"/>
                  </a:lnTo>
                  <a:lnTo>
                    <a:pt x="265" y="343"/>
                  </a:lnTo>
                  <a:lnTo>
                    <a:pt x="88" y="94"/>
                  </a:lnTo>
                  <a:lnTo>
                    <a:pt x="77" y="27"/>
                  </a:lnTo>
                  <a:lnTo>
                    <a:pt x="116" y="44"/>
                  </a:lnTo>
                  <a:lnTo>
                    <a:pt x="181" y="153"/>
                  </a:lnTo>
                  <a:lnTo>
                    <a:pt x="274" y="234"/>
                  </a:lnTo>
                  <a:lnTo>
                    <a:pt x="271" y="266"/>
                  </a:lnTo>
                  <a:lnTo>
                    <a:pt x="400" y="377"/>
                  </a:lnTo>
                  <a:lnTo>
                    <a:pt x="416" y="425"/>
                  </a:lnTo>
                  <a:lnTo>
                    <a:pt x="400" y="455"/>
                  </a:lnTo>
                  <a:lnTo>
                    <a:pt x="430" y="498"/>
                  </a:lnTo>
                  <a:lnTo>
                    <a:pt x="679" y="614"/>
                  </a:lnTo>
                  <a:lnTo>
                    <a:pt x="787" y="606"/>
                  </a:lnTo>
                  <a:lnTo>
                    <a:pt x="858" y="662"/>
                  </a:lnTo>
                  <a:lnTo>
                    <a:pt x="888" y="607"/>
                  </a:lnTo>
                  <a:lnTo>
                    <a:pt x="923" y="606"/>
                  </a:lnTo>
                  <a:lnTo>
                    <a:pt x="885" y="560"/>
                  </a:lnTo>
                  <a:lnTo>
                    <a:pt x="966" y="541"/>
                  </a:lnTo>
                  <a:lnTo>
                    <a:pt x="994" y="521"/>
                  </a:lnTo>
                  <a:lnTo>
                    <a:pt x="1004" y="510"/>
                  </a:lnTo>
                  <a:lnTo>
                    <a:pt x="1013" y="536"/>
                  </a:lnTo>
                  <a:lnTo>
                    <a:pt x="1048" y="426"/>
                  </a:lnTo>
                  <a:lnTo>
                    <a:pt x="1003" y="409"/>
                  </a:lnTo>
                  <a:lnTo>
                    <a:pt x="924" y="426"/>
                  </a:lnTo>
                  <a:lnTo>
                    <a:pt x="883" y="521"/>
                  </a:lnTo>
                  <a:lnTo>
                    <a:pt x="781" y="531"/>
                  </a:lnTo>
                  <a:lnTo>
                    <a:pt x="740" y="507"/>
                  </a:lnTo>
                  <a:lnTo>
                    <a:pt x="672" y="390"/>
                  </a:lnTo>
                  <a:lnTo>
                    <a:pt x="670" y="300"/>
                  </a:lnTo>
                  <a:lnTo>
                    <a:pt x="693" y="256"/>
                  </a:lnTo>
                  <a:lnTo>
                    <a:pt x="625" y="233"/>
                  </a:lnTo>
                  <a:lnTo>
                    <a:pt x="537" y="108"/>
                  </a:lnTo>
                  <a:lnTo>
                    <a:pt x="465" y="136"/>
                  </a:lnTo>
                  <a:lnTo>
                    <a:pt x="369" y="32"/>
                  </a:lnTo>
                  <a:lnTo>
                    <a:pt x="211" y="54"/>
                  </a:lnTo>
                  <a:lnTo>
                    <a:pt x="79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7" name="Freeform 109"/>
            <p:cNvSpPr>
              <a:spLocks noChangeAspect="1"/>
            </p:cNvSpPr>
            <p:nvPr/>
          </p:nvSpPr>
          <p:spPr bwMode="gray">
            <a:xfrm>
              <a:off x="6454482" y="2577739"/>
              <a:ext cx="793288" cy="398175"/>
            </a:xfrm>
            <a:custGeom>
              <a:avLst/>
              <a:gdLst>
                <a:gd name="T0" fmla="*/ 0 w 1101"/>
                <a:gd name="T1" fmla="*/ 12 h 463"/>
                <a:gd name="T2" fmla="*/ 0 w 1101"/>
                <a:gd name="T3" fmla="*/ 16 h 463"/>
                <a:gd name="T4" fmla="*/ 2 w 1101"/>
                <a:gd name="T5" fmla="*/ 18 h 463"/>
                <a:gd name="T6" fmla="*/ 2 w 1101"/>
                <a:gd name="T7" fmla="*/ 25 h 463"/>
                <a:gd name="T8" fmla="*/ 5 w 1101"/>
                <a:gd name="T9" fmla="*/ 29 h 463"/>
                <a:gd name="T10" fmla="*/ 6 w 1101"/>
                <a:gd name="T11" fmla="*/ 34 h 463"/>
                <a:gd name="T12" fmla="*/ 8 w 1101"/>
                <a:gd name="T13" fmla="*/ 34 h 463"/>
                <a:gd name="T14" fmla="*/ 11 w 1101"/>
                <a:gd name="T15" fmla="*/ 38 h 463"/>
                <a:gd name="T16" fmla="*/ 15 w 1101"/>
                <a:gd name="T17" fmla="*/ 34 h 463"/>
                <a:gd name="T18" fmla="*/ 16 w 1101"/>
                <a:gd name="T19" fmla="*/ 31 h 463"/>
                <a:gd name="T20" fmla="*/ 16 w 1101"/>
                <a:gd name="T21" fmla="*/ 27 h 463"/>
                <a:gd name="T22" fmla="*/ 17 w 1101"/>
                <a:gd name="T23" fmla="*/ 27 h 463"/>
                <a:gd name="T24" fmla="*/ 19 w 1101"/>
                <a:gd name="T25" fmla="*/ 21 h 463"/>
                <a:gd name="T26" fmla="*/ 22 w 1101"/>
                <a:gd name="T27" fmla="*/ 20 h 463"/>
                <a:gd name="T28" fmla="*/ 21 w 1101"/>
                <a:gd name="T29" fmla="*/ 16 h 463"/>
                <a:gd name="T30" fmla="*/ 19 w 1101"/>
                <a:gd name="T31" fmla="*/ 17 h 463"/>
                <a:gd name="T32" fmla="*/ 19 w 1101"/>
                <a:gd name="T33" fmla="*/ 11 h 463"/>
                <a:gd name="T34" fmla="*/ 19 w 1101"/>
                <a:gd name="T35" fmla="*/ 9 h 463"/>
                <a:gd name="T36" fmla="*/ 18 w 1101"/>
                <a:gd name="T37" fmla="*/ 8 h 463"/>
                <a:gd name="T38" fmla="*/ 15 w 1101"/>
                <a:gd name="T39" fmla="*/ 11 h 463"/>
                <a:gd name="T40" fmla="*/ 12 w 1101"/>
                <a:gd name="T41" fmla="*/ 6 h 463"/>
                <a:gd name="T42" fmla="*/ 10 w 1101"/>
                <a:gd name="T43" fmla="*/ 7 h 463"/>
                <a:gd name="T44" fmla="*/ 9 w 1101"/>
                <a:gd name="T45" fmla="*/ 3 h 463"/>
                <a:gd name="T46" fmla="*/ 8 w 1101"/>
                <a:gd name="T47" fmla="*/ 0 h 463"/>
                <a:gd name="T48" fmla="*/ 7 w 1101"/>
                <a:gd name="T49" fmla="*/ 3 h 463"/>
                <a:gd name="T50" fmla="*/ 7 w 1101"/>
                <a:gd name="T51" fmla="*/ 8 h 463"/>
                <a:gd name="T52" fmla="*/ 3 w 1101"/>
                <a:gd name="T53" fmla="*/ 6 h 463"/>
                <a:gd name="T54" fmla="*/ 0 w 1101"/>
                <a:gd name="T55" fmla="*/ 12 h 46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01"/>
                <a:gd name="T85" fmla="*/ 0 h 463"/>
                <a:gd name="T86" fmla="*/ 1101 w 1101"/>
                <a:gd name="T87" fmla="*/ 463 h 46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01" h="463">
                  <a:moveTo>
                    <a:pt x="0" y="145"/>
                  </a:moveTo>
                  <a:lnTo>
                    <a:pt x="36" y="192"/>
                  </a:lnTo>
                  <a:lnTo>
                    <a:pt x="84" y="209"/>
                  </a:lnTo>
                  <a:lnTo>
                    <a:pt x="105" y="308"/>
                  </a:lnTo>
                  <a:lnTo>
                    <a:pt x="258" y="346"/>
                  </a:lnTo>
                  <a:lnTo>
                    <a:pt x="321" y="414"/>
                  </a:lnTo>
                  <a:lnTo>
                    <a:pt x="447" y="410"/>
                  </a:lnTo>
                  <a:lnTo>
                    <a:pt x="591" y="463"/>
                  </a:lnTo>
                  <a:lnTo>
                    <a:pt x="780" y="414"/>
                  </a:lnTo>
                  <a:lnTo>
                    <a:pt x="839" y="376"/>
                  </a:lnTo>
                  <a:lnTo>
                    <a:pt x="839" y="322"/>
                  </a:lnTo>
                  <a:lnTo>
                    <a:pt x="891" y="328"/>
                  </a:lnTo>
                  <a:lnTo>
                    <a:pt x="1008" y="251"/>
                  </a:lnTo>
                  <a:lnTo>
                    <a:pt x="1101" y="246"/>
                  </a:lnTo>
                  <a:lnTo>
                    <a:pt x="1057" y="187"/>
                  </a:lnTo>
                  <a:lnTo>
                    <a:pt x="967" y="203"/>
                  </a:lnTo>
                  <a:lnTo>
                    <a:pt x="966" y="138"/>
                  </a:lnTo>
                  <a:lnTo>
                    <a:pt x="989" y="102"/>
                  </a:lnTo>
                  <a:lnTo>
                    <a:pt x="926" y="92"/>
                  </a:lnTo>
                  <a:lnTo>
                    <a:pt x="762" y="132"/>
                  </a:lnTo>
                  <a:lnTo>
                    <a:pt x="617" y="74"/>
                  </a:lnTo>
                  <a:lnTo>
                    <a:pt x="525" y="82"/>
                  </a:lnTo>
                  <a:lnTo>
                    <a:pt x="490" y="33"/>
                  </a:lnTo>
                  <a:lnTo>
                    <a:pt x="399" y="0"/>
                  </a:lnTo>
                  <a:lnTo>
                    <a:pt x="351" y="35"/>
                  </a:lnTo>
                  <a:lnTo>
                    <a:pt x="347" y="101"/>
                  </a:lnTo>
                  <a:lnTo>
                    <a:pt x="139" y="72"/>
                  </a:lnTo>
                  <a:lnTo>
                    <a:pt x="0" y="14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8" name="Freeform 110"/>
            <p:cNvSpPr>
              <a:spLocks noChangeAspect="1"/>
            </p:cNvSpPr>
            <p:nvPr/>
          </p:nvSpPr>
          <p:spPr bwMode="gray">
            <a:xfrm>
              <a:off x="5560118" y="3535019"/>
              <a:ext cx="191430" cy="258814"/>
            </a:xfrm>
            <a:custGeom>
              <a:avLst/>
              <a:gdLst>
                <a:gd name="T0" fmla="*/ 0 w 266"/>
                <a:gd name="T1" fmla="*/ 19 h 300"/>
                <a:gd name="T2" fmla="*/ 0 w 266"/>
                <a:gd name="T3" fmla="*/ 26 h 300"/>
                <a:gd name="T4" fmla="*/ 2 w 266"/>
                <a:gd name="T5" fmla="*/ 25 h 300"/>
                <a:gd name="T6" fmla="*/ 4 w 266"/>
                <a:gd name="T7" fmla="*/ 19 h 300"/>
                <a:gd name="T8" fmla="*/ 4 w 266"/>
                <a:gd name="T9" fmla="*/ 16 h 300"/>
                <a:gd name="T10" fmla="*/ 5 w 266"/>
                <a:gd name="T11" fmla="*/ 9 h 300"/>
                <a:gd name="T12" fmla="*/ 5 w 266"/>
                <a:gd name="T13" fmla="*/ 8 h 300"/>
                <a:gd name="T14" fmla="*/ 4 w 266"/>
                <a:gd name="T15" fmla="*/ 4 h 300"/>
                <a:gd name="T16" fmla="*/ 3 w 266"/>
                <a:gd name="T17" fmla="*/ 0 h 300"/>
                <a:gd name="T18" fmla="*/ 2 w 266"/>
                <a:gd name="T19" fmla="*/ 1 h 300"/>
                <a:gd name="T20" fmla="*/ 3 w 266"/>
                <a:gd name="T21" fmla="*/ 3 h 300"/>
                <a:gd name="T22" fmla="*/ 2 w 266"/>
                <a:gd name="T23" fmla="*/ 7 h 300"/>
                <a:gd name="T24" fmla="*/ 2 w 266"/>
                <a:gd name="T25" fmla="*/ 9 h 300"/>
                <a:gd name="T26" fmla="*/ 2 w 266"/>
                <a:gd name="T27" fmla="*/ 16 h 300"/>
                <a:gd name="T28" fmla="*/ 0 w 266"/>
                <a:gd name="T29" fmla="*/ 19 h 3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6"/>
                <a:gd name="T46" fmla="*/ 0 h 300"/>
                <a:gd name="T47" fmla="*/ 266 w 266"/>
                <a:gd name="T48" fmla="*/ 300 h 3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6" h="300">
                  <a:moveTo>
                    <a:pt x="0" y="213"/>
                  </a:moveTo>
                  <a:lnTo>
                    <a:pt x="36" y="300"/>
                  </a:lnTo>
                  <a:lnTo>
                    <a:pt x="99" y="286"/>
                  </a:lnTo>
                  <a:lnTo>
                    <a:pt x="199" y="212"/>
                  </a:lnTo>
                  <a:lnTo>
                    <a:pt x="197" y="176"/>
                  </a:lnTo>
                  <a:lnTo>
                    <a:pt x="262" y="110"/>
                  </a:lnTo>
                  <a:lnTo>
                    <a:pt x="266" y="88"/>
                  </a:lnTo>
                  <a:lnTo>
                    <a:pt x="230" y="50"/>
                  </a:lnTo>
                  <a:lnTo>
                    <a:pt x="148" y="0"/>
                  </a:lnTo>
                  <a:lnTo>
                    <a:pt x="128" y="1"/>
                  </a:lnTo>
                  <a:lnTo>
                    <a:pt x="139" y="28"/>
                  </a:lnTo>
                  <a:lnTo>
                    <a:pt x="110" y="80"/>
                  </a:lnTo>
                  <a:lnTo>
                    <a:pt x="128" y="105"/>
                  </a:lnTo>
                  <a:lnTo>
                    <a:pt x="102" y="177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09" name="Freeform 111"/>
            <p:cNvSpPr>
              <a:spLocks noChangeAspect="1"/>
            </p:cNvSpPr>
            <p:nvPr/>
          </p:nvSpPr>
          <p:spPr bwMode="gray">
            <a:xfrm>
              <a:off x="6258457" y="3360817"/>
              <a:ext cx="202151" cy="124430"/>
            </a:xfrm>
            <a:custGeom>
              <a:avLst/>
              <a:gdLst>
                <a:gd name="T0" fmla="*/ 0 w 278"/>
                <a:gd name="T1" fmla="*/ 5 h 143"/>
                <a:gd name="T2" fmla="*/ 0 w 278"/>
                <a:gd name="T3" fmla="*/ 0 h 143"/>
                <a:gd name="T4" fmla="*/ 3 w 278"/>
                <a:gd name="T5" fmla="*/ 4 h 143"/>
                <a:gd name="T6" fmla="*/ 4 w 278"/>
                <a:gd name="T7" fmla="*/ 9 h 143"/>
                <a:gd name="T8" fmla="*/ 6 w 278"/>
                <a:gd name="T9" fmla="*/ 9 h 143"/>
                <a:gd name="T10" fmla="*/ 6 w 278"/>
                <a:gd name="T11" fmla="*/ 14 h 143"/>
                <a:gd name="T12" fmla="*/ 2 w 278"/>
                <a:gd name="T13" fmla="*/ 10 h 143"/>
                <a:gd name="T14" fmla="*/ 0 w 278"/>
                <a:gd name="T15" fmla="*/ 5 h 14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78"/>
                <a:gd name="T25" fmla="*/ 0 h 143"/>
                <a:gd name="T26" fmla="*/ 278 w 278"/>
                <a:gd name="T27" fmla="*/ 143 h 14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78" h="143">
                  <a:moveTo>
                    <a:pt x="0" y="56"/>
                  </a:moveTo>
                  <a:lnTo>
                    <a:pt x="34" y="0"/>
                  </a:lnTo>
                  <a:lnTo>
                    <a:pt x="144" y="36"/>
                  </a:lnTo>
                  <a:lnTo>
                    <a:pt x="203" y="90"/>
                  </a:lnTo>
                  <a:lnTo>
                    <a:pt x="278" y="90"/>
                  </a:lnTo>
                  <a:lnTo>
                    <a:pt x="274" y="143"/>
                  </a:lnTo>
                  <a:lnTo>
                    <a:pt x="93" y="109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0" name="Freeform 112"/>
            <p:cNvSpPr>
              <a:spLocks noChangeAspect="1"/>
            </p:cNvSpPr>
            <p:nvPr/>
          </p:nvSpPr>
          <p:spPr bwMode="gray">
            <a:xfrm>
              <a:off x="4348746" y="2536262"/>
              <a:ext cx="87292" cy="96226"/>
            </a:xfrm>
            <a:custGeom>
              <a:avLst/>
              <a:gdLst>
                <a:gd name="T0" fmla="*/ 0 w 123"/>
                <a:gd name="T1" fmla="*/ 5 h 115"/>
                <a:gd name="T2" fmla="*/ 0 w 123"/>
                <a:gd name="T3" fmla="*/ 4 h 115"/>
                <a:gd name="T4" fmla="*/ 0 w 123"/>
                <a:gd name="T5" fmla="*/ 4 h 115"/>
                <a:gd name="T6" fmla="*/ 0 w 123"/>
                <a:gd name="T7" fmla="*/ 1 h 115"/>
                <a:gd name="T8" fmla="*/ 1 w 123"/>
                <a:gd name="T9" fmla="*/ 3 h 115"/>
                <a:gd name="T10" fmla="*/ 1 w 123"/>
                <a:gd name="T11" fmla="*/ 0 h 115"/>
                <a:gd name="T12" fmla="*/ 2 w 123"/>
                <a:gd name="T13" fmla="*/ 0 h 115"/>
                <a:gd name="T14" fmla="*/ 2 w 123"/>
                <a:gd name="T15" fmla="*/ 3 h 115"/>
                <a:gd name="T16" fmla="*/ 1 w 123"/>
                <a:gd name="T17" fmla="*/ 4 h 115"/>
                <a:gd name="T18" fmla="*/ 1 w 123"/>
                <a:gd name="T19" fmla="*/ 7 h 115"/>
                <a:gd name="T20" fmla="*/ 1 w 123"/>
                <a:gd name="T21" fmla="*/ 5 h 115"/>
                <a:gd name="T22" fmla="*/ 0 w 123"/>
                <a:gd name="T23" fmla="*/ 5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3"/>
                <a:gd name="T37" fmla="*/ 0 h 115"/>
                <a:gd name="T38" fmla="*/ 123 w 123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3" h="115">
                  <a:moveTo>
                    <a:pt x="0" y="86"/>
                  </a:moveTo>
                  <a:lnTo>
                    <a:pt x="47" y="72"/>
                  </a:lnTo>
                  <a:lnTo>
                    <a:pt x="22" y="58"/>
                  </a:lnTo>
                  <a:lnTo>
                    <a:pt x="46" y="18"/>
                  </a:lnTo>
                  <a:lnTo>
                    <a:pt x="64" y="44"/>
                  </a:lnTo>
                  <a:lnTo>
                    <a:pt x="67" y="0"/>
                  </a:lnTo>
                  <a:lnTo>
                    <a:pt x="123" y="0"/>
                  </a:lnTo>
                  <a:lnTo>
                    <a:pt x="118" y="44"/>
                  </a:lnTo>
                  <a:lnTo>
                    <a:pt x="82" y="61"/>
                  </a:lnTo>
                  <a:lnTo>
                    <a:pt x="84" y="115"/>
                  </a:lnTo>
                  <a:lnTo>
                    <a:pt x="50" y="82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1" name="Freeform 113"/>
            <p:cNvSpPr>
              <a:spLocks noChangeAspect="1"/>
            </p:cNvSpPr>
            <p:nvPr/>
          </p:nvSpPr>
          <p:spPr bwMode="gray">
            <a:xfrm>
              <a:off x="8422387" y="5578986"/>
              <a:ext cx="192962" cy="215678"/>
            </a:xfrm>
            <a:custGeom>
              <a:avLst/>
              <a:gdLst>
                <a:gd name="T0" fmla="*/ 0 w 268"/>
                <a:gd name="T1" fmla="*/ 17 h 252"/>
                <a:gd name="T2" fmla="*/ 1 w 268"/>
                <a:gd name="T3" fmla="*/ 11 h 252"/>
                <a:gd name="T4" fmla="*/ 3 w 268"/>
                <a:gd name="T5" fmla="*/ 7 h 252"/>
                <a:gd name="T6" fmla="*/ 4 w 268"/>
                <a:gd name="T7" fmla="*/ 0 h 252"/>
                <a:gd name="T8" fmla="*/ 4 w 268"/>
                <a:gd name="T9" fmla="*/ 2 h 252"/>
                <a:gd name="T10" fmla="*/ 5 w 268"/>
                <a:gd name="T11" fmla="*/ 2 h 252"/>
                <a:gd name="T12" fmla="*/ 5 w 268"/>
                <a:gd name="T13" fmla="*/ 4 h 252"/>
                <a:gd name="T14" fmla="*/ 4 w 268"/>
                <a:gd name="T15" fmla="*/ 8 h 252"/>
                <a:gd name="T16" fmla="*/ 4 w 268"/>
                <a:gd name="T17" fmla="*/ 10 h 252"/>
                <a:gd name="T18" fmla="*/ 3 w 268"/>
                <a:gd name="T19" fmla="*/ 11 h 252"/>
                <a:gd name="T20" fmla="*/ 3 w 268"/>
                <a:gd name="T21" fmla="*/ 18 h 252"/>
                <a:gd name="T22" fmla="*/ 2 w 268"/>
                <a:gd name="T23" fmla="*/ 20 h 252"/>
                <a:gd name="T24" fmla="*/ 0 w 268"/>
                <a:gd name="T25" fmla="*/ 17 h 2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8"/>
                <a:gd name="T40" fmla="*/ 0 h 252"/>
                <a:gd name="T41" fmla="*/ 268 w 268"/>
                <a:gd name="T42" fmla="*/ 252 h 2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8" h="252">
                  <a:moveTo>
                    <a:pt x="0" y="220"/>
                  </a:moveTo>
                  <a:lnTo>
                    <a:pt x="56" y="143"/>
                  </a:lnTo>
                  <a:lnTo>
                    <a:pt x="153" y="86"/>
                  </a:lnTo>
                  <a:lnTo>
                    <a:pt x="202" y="0"/>
                  </a:lnTo>
                  <a:lnTo>
                    <a:pt x="233" y="26"/>
                  </a:lnTo>
                  <a:lnTo>
                    <a:pt x="266" y="15"/>
                  </a:lnTo>
                  <a:lnTo>
                    <a:pt x="268" y="44"/>
                  </a:lnTo>
                  <a:lnTo>
                    <a:pt x="218" y="104"/>
                  </a:lnTo>
                  <a:lnTo>
                    <a:pt x="229" y="132"/>
                  </a:lnTo>
                  <a:lnTo>
                    <a:pt x="173" y="142"/>
                  </a:lnTo>
                  <a:lnTo>
                    <a:pt x="144" y="226"/>
                  </a:lnTo>
                  <a:lnTo>
                    <a:pt x="87" y="252"/>
                  </a:lnTo>
                  <a:lnTo>
                    <a:pt x="0" y="220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2" name="Freeform 114"/>
            <p:cNvSpPr>
              <a:spLocks noChangeAspect="1"/>
            </p:cNvSpPr>
            <p:nvPr/>
          </p:nvSpPr>
          <p:spPr bwMode="gray">
            <a:xfrm>
              <a:off x="8574000" y="5363308"/>
              <a:ext cx="145487" cy="238905"/>
            </a:xfrm>
            <a:custGeom>
              <a:avLst/>
              <a:gdLst>
                <a:gd name="T0" fmla="*/ 0 w 202"/>
                <a:gd name="T1" fmla="*/ 0 h 278"/>
                <a:gd name="T2" fmla="*/ 1 w 202"/>
                <a:gd name="T3" fmla="*/ 3 h 278"/>
                <a:gd name="T4" fmla="*/ 1 w 202"/>
                <a:gd name="T5" fmla="*/ 8 h 278"/>
                <a:gd name="T6" fmla="*/ 2 w 202"/>
                <a:gd name="T7" fmla="*/ 9 h 278"/>
                <a:gd name="T8" fmla="*/ 2 w 202"/>
                <a:gd name="T9" fmla="*/ 7 h 278"/>
                <a:gd name="T10" fmla="*/ 2 w 202"/>
                <a:gd name="T11" fmla="*/ 10 h 278"/>
                <a:gd name="T12" fmla="*/ 4 w 202"/>
                <a:gd name="T13" fmla="*/ 10 h 278"/>
                <a:gd name="T14" fmla="*/ 4 w 202"/>
                <a:gd name="T15" fmla="*/ 16 h 278"/>
                <a:gd name="T16" fmla="*/ 3 w 202"/>
                <a:gd name="T17" fmla="*/ 16 h 278"/>
                <a:gd name="T18" fmla="*/ 2 w 202"/>
                <a:gd name="T19" fmla="*/ 23 h 278"/>
                <a:gd name="T20" fmla="*/ 1 w 202"/>
                <a:gd name="T21" fmla="*/ 23 h 278"/>
                <a:gd name="T22" fmla="*/ 2 w 202"/>
                <a:gd name="T23" fmla="*/ 20 h 278"/>
                <a:gd name="T24" fmla="*/ 1 w 202"/>
                <a:gd name="T25" fmla="*/ 16 h 278"/>
                <a:gd name="T26" fmla="*/ 1 w 202"/>
                <a:gd name="T27" fmla="*/ 12 h 278"/>
                <a:gd name="T28" fmla="*/ 1 w 202"/>
                <a:gd name="T29" fmla="*/ 8 h 278"/>
                <a:gd name="T30" fmla="*/ 0 w 202"/>
                <a:gd name="T31" fmla="*/ 0 h 2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2"/>
                <a:gd name="T49" fmla="*/ 0 h 278"/>
                <a:gd name="T50" fmla="*/ 202 w 202"/>
                <a:gd name="T51" fmla="*/ 278 h 27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2" h="278">
                  <a:moveTo>
                    <a:pt x="0" y="0"/>
                  </a:moveTo>
                  <a:lnTo>
                    <a:pt x="56" y="32"/>
                  </a:lnTo>
                  <a:lnTo>
                    <a:pt x="71" y="93"/>
                  </a:lnTo>
                  <a:lnTo>
                    <a:pt x="94" y="110"/>
                  </a:lnTo>
                  <a:lnTo>
                    <a:pt x="109" y="84"/>
                  </a:lnTo>
                  <a:lnTo>
                    <a:pt x="120" y="126"/>
                  </a:lnTo>
                  <a:lnTo>
                    <a:pt x="202" y="126"/>
                  </a:lnTo>
                  <a:lnTo>
                    <a:pt x="184" y="187"/>
                  </a:lnTo>
                  <a:lnTo>
                    <a:pt x="144" y="196"/>
                  </a:lnTo>
                  <a:lnTo>
                    <a:pt x="110" y="275"/>
                  </a:lnTo>
                  <a:lnTo>
                    <a:pt x="72" y="278"/>
                  </a:lnTo>
                  <a:lnTo>
                    <a:pt x="89" y="248"/>
                  </a:lnTo>
                  <a:lnTo>
                    <a:pt x="39" y="192"/>
                  </a:lnTo>
                  <a:lnTo>
                    <a:pt x="79" y="142"/>
                  </a:lnTo>
                  <a:lnTo>
                    <a:pt x="72" y="1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3" name="Freeform 115"/>
            <p:cNvSpPr>
              <a:spLocks noChangeAspect="1"/>
            </p:cNvSpPr>
            <p:nvPr/>
          </p:nvSpPr>
          <p:spPr bwMode="gray">
            <a:xfrm>
              <a:off x="2076084" y="3843605"/>
              <a:ext cx="98012" cy="124430"/>
            </a:xfrm>
            <a:custGeom>
              <a:avLst/>
              <a:gdLst>
                <a:gd name="T0" fmla="*/ 0 w 138"/>
                <a:gd name="T1" fmla="*/ 6 h 144"/>
                <a:gd name="T2" fmla="*/ 1 w 138"/>
                <a:gd name="T3" fmla="*/ 13 h 144"/>
                <a:gd name="T4" fmla="*/ 2 w 138"/>
                <a:gd name="T5" fmla="*/ 13 h 144"/>
                <a:gd name="T6" fmla="*/ 2 w 138"/>
                <a:gd name="T7" fmla="*/ 0 h 144"/>
                <a:gd name="T8" fmla="*/ 1 w 138"/>
                <a:gd name="T9" fmla="*/ 1 h 144"/>
                <a:gd name="T10" fmla="*/ 0 w 138"/>
                <a:gd name="T11" fmla="*/ 6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8"/>
                <a:gd name="T19" fmla="*/ 0 h 144"/>
                <a:gd name="T20" fmla="*/ 138 w 138"/>
                <a:gd name="T21" fmla="*/ 144 h 1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8" h="144">
                  <a:moveTo>
                    <a:pt x="0" y="72"/>
                  </a:moveTo>
                  <a:lnTo>
                    <a:pt x="55" y="140"/>
                  </a:lnTo>
                  <a:lnTo>
                    <a:pt x="127" y="144"/>
                  </a:lnTo>
                  <a:lnTo>
                    <a:pt x="138" y="0"/>
                  </a:lnTo>
                  <a:lnTo>
                    <a:pt x="88" y="6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4" name="Freeform 116"/>
            <p:cNvSpPr>
              <a:spLocks noChangeAspect="1"/>
            </p:cNvSpPr>
            <p:nvPr/>
          </p:nvSpPr>
          <p:spPr bwMode="gray">
            <a:xfrm>
              <a:off x="4385501" y="1703412"/>
              <a:ext cx="646269" cy="623808"/>
            </a:xfrm>
            <a:custGeom>
              <a:avLst/>
              <a:gdLst>
                <a:gd name="T0" fmla="*/ 0 w 897"/>
                <a:gd name="T1" fmla="*/ 54 h 719"/>
                <a:gd name="T2" fmla="*/ 2 w 897"/>
                <a:gd name="T3" fmla="*/ 53 h 719"/>
                <a:gd name="T4" fmla="*/ 0 w 897"/>
                <a:gd name="T5" fmla="*/ 56 h 719"/>
                <a:gd name="T6" fmla="*/ 1 w 897"/>
                <a:gd name="T7" fmla="*/ 57 h 719"/>
                <a:gd name="T8" fmla="*/ 1 w 897"/>
                <a:gd name="T9" fmla="*/ 62 h 719"/>
                <a:gd name="T10" fmla="*/ 2 w 897"/>
                <a:gd name="T11" fmla="*/ 68 h 719"/>
                <a:gd name="T12" fmla="*/ 4 w 897"/>
                <a:gd name="T13" fmla="*/ 60 h 719"/>
                <a:gd name="T14" fmla="*/ 5 w 897"/>
                <a:gd name="T15" fmla="*/ 59 h 719"/>
                <a:gd name="T16" fmla="*/ 5 w 897"/>
                <a:gd name="T17" fmla="*/ 53 h 719"/>
                <a:gd name="T18" fmla="*/ 5 w 897"/>
                <a:gd name="T19" fmla="*/ 41 h 719"/>
                <a:gd name="T20" fmla="*/ 6 w 897"/>
                <a:gd name="T21" fmla="*/ 36 h 719"/>
                <a:gd name="T22" fmla="*/ 8 w 897"/>
                <a:gd name="T23" fmla="*/ 23 h 719"/>
                <a:gd name="T24" fmla="*/ 8 w 897"/>
                <a:gd name="T25" fmla="*/ 17 h 719"/>
                <a:gd name="T26" fmla="*/ 10 w 897"/>
                <a:gd name="T27" fmla="*/ 15 h 719"/>
                <a:gd name="T28" fmla="*/ 11 w 897"/>
                <a:gd name="T29" fmla="*/ 12 h 719"/>
                <a:gd name="T30" fmla="*/ 12 w 897"/>
                <a:gd name="T31" fmla="*/ 14 h 719"/>
                <a:gd name="T32" fmla="*/ 14 w 897"/>
                <a:gd name="T33" fmla="*/ 12 h 719"/>
                <a:gd name="T34" fmla="*/ 16 w 897"/>
                <a:gd name="T35" fmla="*/ 6 h 719"/>
                <a:gd name="T36" fmla="*/ 16 w 897"/>
                <a:gd name="T37" fmla="*/ 12 h 719"/>
                <a:gd name="T38" fmla="*/ 16 w 897"/>
                <a:gd name="T39" fmla="*/ 8 h 719"/>
                <a:gd name="T40" fmla="*/ 16 w 897"/>
                <a:gd name="T41" fmla="*/ 6 h 719"/>
                <a:gd name="T42" fmla="*/ 16 w 897"/>
                <a:gd name="T43" fmla="*/ 1 h 719"/>
                <a:gd name="T44" fmla="*/ 16 w 897"/>
                <a:gd name="T45" fmla="*/ 1 h 719"/>
                <a:gd name="T46" fmla="*/ 15 w 897"/>
                <a:gd name="T47" fmla="*/ 4 h 719"/>
                <a:gd name="T48" fmla="*/ 15 w 897"/>
                <a:gd name="T49" fmla="*/ 1 h 719"/>
                <a:gd name="T50" fmla="*/ 14 w 897"/>
                <a:gd name="T51" fmla="*/ 2 h 719"/>
                <a:gd name="T52" fmla="*/ 12 w 897"/>
                <a:gd name="T53" fmla="*/ 7 h 719"/>
                <a:gd name="T54" fmla="*/ 11 w 897"/>
                <a:gd name="T55" fmla="*/ 8 h 719"/>
                <a:gd name="T56" fmla="*/ 10 w 897"/>
                <a:gd name="T57" fmla="*/ 10 h 719"/>
                <a:gd name="T58" fmla="*/ 10 w 897"/>
                <a:gd name="T59" fmla="*/ 10 h 719"/>
                <a:gd name="T60" fmla="*/ 10 w 897"/>
                <a:gd name="T61" fmla="*/ 10 h 719"/>
                <a:gd name="T62" fmla="*/ 8 w 897"/>
                <a:gd name="T63" fmla="*/ 14 h 719"/>
                <a:gd name="T64" fmla="*/ 8 w 897"/>
                <a:gd name="T65" fmla="*/ 15 h 719"/>
                <a:gd name="T66" fmla="*/ 7 w 897"/>
                <a:gd name="T67" fmla="*/ 20 h 719"/>
                <a:gd name="T68" fmla="*/ 6 w 897"/>
                <a:gd name="T69" fmla="*/ 25 h 719"/>
                <a:gd name="T70" fmla="*/ 3 w 897"/>
                <a:gd name="T71" fmla="*/ 40 h 719"/>
                <a:gd name="T72" fmla="*/ 4 w 897"/>
                <a:gd name="T73" fmla="*/ 40 h 719"/>
                <a:gd name="T74" fmla="*/ 1 w 897"/>
                <a:gd name="T75" fmla="*/ 45 h 719"/>
                <a:gd name="T76" fmla="*/ 1 w 897"/>
                <a:gd name="T77" fmla="*/ 47 h 719"/>
                <a:gd name="T78" fmla="*/ 0 w 897"/>
                <a:gd name="T79" fmla="*/ 49 h 719"/>
                <a:gd name="T80" fmla="*/ 0 w 897"/>
                <a:gd name="T81" fmla="*/ 51 h 71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897"/>
                <a:gd name="T124" fmla="*/ 0 h 719"/>
                <a:gd name="T125" fmla="*/ 897 w 897"/>
                <a:gd name="T126" fmla="*/ 719 h 71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897" h="719">
                  <a:moveTo>
                    <a:pt x="0" y="538"/>
                  </a:moveTo>
                  <a:lnTo>
                    <a:pt x="2" y="568"/>
                  </a:lnTo>
                  <a:lnTo>
                    <a:pt x="84" y="548"/>
                  </a:lnTo>
                  <a:lnTo>
                    <a:pt x="87" y="560"/>
                  </a:lnTo>
                  <a:lnTo>
                    <a:pt x="1" y="581"/>
                  </a:lnTo>
                  <a:lnTo>
                    <a:pt x="22" y="592"/>
                  </a:lnTo>
                  <a:lnTo>
                    <a:pt x="13" y="631"/>
                  </a:lnTo>
                  <a:lnTo>
                    <a:pt x="71" y="598"/>
                  </a:lnTo>
                  <a:lnTo>
                    <a:pt x="9" y="653"/>
                  </a:lnTo>
                  <a:lnTo>
                    <a:pt x="44" y="653"/>
                  </a:lnTo>
                  <a:lnTo>
                    <a:pt x="22" y="699"/>
                  </a:lnTo>
                  <a:lnTo>
                    <a:pt x="109" y="719"/>
                  </a:lnTo>
                  <a:lnTo>
                    <a:pt x="177" y="674"/>
                  </a:lnTo>
                  <a:lnTo>
                    <a:pt x="191" y="632"/>
                  </a:lnTo>
                  <a:lnTo>
                    <a:pt x="213" y="674"/>
                  </a:lnTo>
                  <a:lnTo>
                    <a:pt x="253" y="622"/>
                  </a:lnTo>
                  <a:lnTo>
                    <a:pt x="246" y="577"/>
                  </a:lnTo>
                  <a:lnTo>
                    <a:pt x="264" y="556"/>
                  </a:lnTo>
                  <a:lnTo>
                    <a:pt x="246" y="535"/>
                  </a:lnTo>
                  <a:lnTo>
                    <a:pt x="248" y="433"/>
                  </a:lnTo>
                  <a:lnTo>
                    <a:pt x="313" y="408"/>
                  </a:lnTo>
                  <a:lnTo>
                    <a:pt x="300" y="376"/>
                  </a:lnTo>
                  <a:lnTo>
                    <a:pt x="328" y="298"/>
                  </a:lnTo>
                  <a:lnTo>
                    <a:pt x="389" y="241"/>
                  </a:lnTo>
                  <a:lnTo>
                    <a:pt x="401" y="193"/>
                  </a:lnTo>
                  <a:lnTo>
                    <a:pt x="444" y="184"/>
                  </a:lnTo>
                  <a:lnTo>
                    <a:pt x="457" y="155"/>
                  </a:lnTo>
                  <a:lnTo>
                    <a:pt x="521" y="162"/>
                  </a:lnTo>
                  <a:lnTo>
                    <a:pt x="522" y="123"/>
                  </a:lnTo>
                  <a:lnTo>
                    <a:pt x="538" y="123"/>
                  </a:lnTo>
                  <a:lnTo>
                    <a:pt x="563" y="106"/>
                  </a:lnTo>
                  <a:lnTo>
                    <a:pt x="603" y="140"/>
                  </a:lnTo>
                  <a:lnTo>
                    <a:pt x="675" y="147"/>
                  </a:lnTo>
                  <a:lnTo>
                    <a:pt x="717" y="125"/>
                  </a:lnTo>
                  <a:lnTo>
                    <a:pt x="729" y="78"/>
                  </a:lnTo>
                  <a:lnTo>
                    <a:pt x="797" y="65"/>
                  </a:lnTo>
                  <a:lnTo>
                    <a:pt x="834" y="83"/>
                  </a:lnTo>
                  <a:lnTo>
                    <a:pt x="830" y="123"/>
                  </a:lnTo>
                  <a:lnTo>
                    <a:pt x="894" y="78"/>
                  </a:lnTo>
                  <a:lnTo>
                    <a:pt x="851" y="85"/>
                  </a:lnTo>
                  <a:lnTo>
                    <a:pt x="862" y="73"/>
                  </a:lnTo>
                  <a:lnTo>
                    <a:pt x="818" y="61"/>
                  </a:lnTo>
                  <a:lnTo>
                    <a:pt x="897" y="39"/>
                  </a:lnTo>
                  <a:lnTo>
                    <a:pt x="834" y="12"/>
                  </a:lnTo>
                  <a:lnTo>
                    <a:pt x="793" y="39"/>
                  </a:lnTo>
                  <a:lnTo>
                    <a:pt x="815" y="3"/>
                  </a:lnTo>
                  <a:lnTo>
                    <a:pt x="782" y="0"/>
                  </a:lnTo>
                  <a:lnTo>
                    <a:pt x="760" y="39"/>
                  </a:lnTo>
                  <a:lnTo>
                    <a:pt x="749" y="43"/>
                  </a:lnTo>
                  <a:lnTo>
                    <a:pt x="749" y="8"/>
                  </a:lnTo>
                  <a:lnTo>
                    <a:pt x="691" y="65"/>
                  </a:lnTo>
                  <a:lnTo>
                    <a:pt x="722" y="13"/>
                  </a:lnTo>
                  <a:lnTo>
                    <a:pt x="691" y="5"/>
                  </a:lnTo>
                  <a:lnTo>
                    <a:pt x="630" y="68"/>
                  </a:lnTo>
                  <a:lnTo>
                    <a:pt x="571" y="48"/>
                  </a:lnTo>
                  <a:lnTo>
                    <a:pt x="587" y="83"/>
                  </a:lnTo>
                  <a:lnTo>
                    <a:pt x="563" y="65"/>
                  </a:lnTo>
                  <a:lnTo>
                    <a:pt x="522" y="107"/>
                  </a:lnTo>
                  <a:lnTo>
                    <a:pt x="527" y="72"/>
                  </a:lnTo>
                  <a:lnTo>
                    <a:pt x="505" y="103"/>
                  </a:lnTo>
                  <a:lnTo>
                    <a:pt x="487" y="81"/>
                  </a:lnTo>
                  <a:lnTo>
                    <a:pt x="500" y="112"/>
                  </a:lnTo>
                  <a:lnTo>
                    <a:pt x="453" y="99"/>
                  </a:lnTo>
                  <a:lnTo>
                    <a:pt x="440" y="142"/>
                  </a:lnTo>
                  <a:lnTo>
                    <a:pt x="398" y="158"/>
                  </a:lnTo>
                  <a:lnTo>
                    <a:pt x="437" y="161"/>
                  </a:lnTo>
                  <a:lnTo>
                    <a:pt x="366" y="182"/>
                  </a:lnTo>
                  <a:lnTo>
                    <a:pt x="352" y="213"/>
                  </a:lnTo>
                  <a:lnTo>
                    <a:pt x="374" y="213"/>
                  </a:lnTo>
                  <a:lnTo>
                    <a:pt x="287" y="263"/>
                  </a:lnTo>
                  <a:lnTo>
                    <a:pt x="254" y="348"/>
                  </a:lnTo>
                  <a:lnTo>
                    <a:pt x="160" y="419"/>
                  </a:lnTo>
                  <a:lnTo>
                    <a:pt x="177" y="438"/>
                  </a:lnTo>
                  <a:lnTo>
                    <a:pt x="218" y="425"/>
                  </a:lnTo>
                  <a:lnTo>
                    <a:pt x="122" y="446"/>
                  </a:lnTo>
                  <a:lnTo>
                    <a:pt x="71" y="476"/>
                  </a:lnTo>
                  <a:lnTo>
                    <a:pt x="84" y="491"/>
                  </a:lnTo>
                  <a:lnTo>
                    <a:pt x="46" y="491"/>
                  </a:lnTo>
                  <a:lnTo>
                    <a:pt x="50" y="513"/>
                  </a:lnTo>
                  <a:lnTo>
                    <a:pt x="4" y="513"/>
                  </a:lnTo>
                  <a:lnTo>
                    <a:pt x="46" y="526"/>
                  </a:lnTo>
                  <a:lnTo>
                    <a:pt x="0" y="53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5" name="Freeform 117"/>
            <p:cNvSpPr>
              <a:spLocks noChangeAspect="1"/>
            </p:cNvSpPr>
            <p:nvPr/>
          </p:nvSpPr>
          <p:spPr bwMode="gray">
            <a:xfrm>
              <a:off x="5782178" y="3135184"/>
              <a:ext cx="418084" cy="434675"/>
            </a:xfrm>
            <a:custGeom>
              <a:avLst/>
              <a:gdLst>
                <a:gd name="T0" fmla="*/ 0 w 582"/>
                <a:gd name="T1" fmla="*/ 23 h 505"/>
                <a:gd name="T2" fmla="*/ 1 w 582"/>
                <a:gd name="T3" fmla="*/ 25 h 505"/>
                <a:gd name="T4" fmla="*/ 3 w 582"/>
                <a:gd name="T5" fmla="*/ 23 h 505"/>
                <a:gd name="T6" fmla="*/ 4 w 582"/>
                <a:gd name="T7" fmla="*/ 19 h 505"/>
                <a:gd name="T8" fmla="*/ 6 w 582"/>
                <a:gd name="T9" fmla="*/ 17 h 505"/>
                <a:gd name="T10" fmla="*/ 6 w 582"/>
                <a:gd name="T11" fmla="*/ 13 h 505"/>
                <a:gd name="T12" fmla="*/ 6 w 582"/>
                <a:gd name="T13" fmla="*/ 12 h 505"/>
                <a:gd name="T14" fmla="*/ 6 w 582"/>
                <a:gd name="T15" fmla="*/ 10 h 505"/>
                <a:gd name="T16" fmla="*/ 7 w 582"/>
                <a:gd name="T17" fmla="*/ 10 h 505"/>
                <a:gd name="T18" fmla="*/ 7 w 582"/>
                <a:gd name="T19" fmla="*/ 6 h 505"/>
                <a:gd name="T20" fmla="*/ 7 w 582"/>
                <a:gd name="T21" fmla="*/ 3 h 505"/>
                <a:gd name="T22" fmla="*/ 9 w 582"/>
                <a:gd name="T23" fmla="*/ 0 h 505"/>
                <a:gd name="T24" fmla="*/ 11 w 582"/>
                <a:gd name="T25" fmla="*/ 5 h 505"/>
                <a:gd name="T26" fmla="*/ 10 w 582"/>
                <a:gd name="T27" fmla="*/ 8 h 505"/>
                <a:gd name="T28" fmla="*/ 8 w 582"/>
                <a:gd name="T29" fmla="*/ 8 h 505"/>
                <a:gd name="T30" fmla="*/ 8 w 582"/>
                <a:gd name="T31" fmla="*/ 12 h 505"/>
                <a:gd name="T32" fmla="*/ 9 w 582"/>
                <a:gd name="T33" fmla="*/ 16 h 505"/>
                <a:gd name="T34" fmla="*/ 9 w 582"/>
                <a:gd name="T35" fmla="*/ 17 h 505"/>
                <a:gd name="T36" fmla="*/ 9 w 582"/>
                <a:gd name="T37" fmla="*/ 20 h 505"/>
                <a:gd name="T38" fmla="*/ 7 w 582"/>
                <a:gd name="T39" fmla="*/ 30 h 505"/>
                <a:gd name="T40" fmla="*/ 6 w 582"/>
                <a:gd name="T41" fmla="*/ 30 h 505"/>
                <a:gd name="T42" fmla="*/ 6 w 582"/>
                <a:gd name="T43" fmla="*/ 32 h 505"/>
                <a:gd name="T44" fmla="*/ 7 w 582"/>
                <a:gd name="T45" fmla="*/ 40 h 505"/>
                <a:gd name="T46" fmla="*/ 5 w 582"/>
                <a:gd name="T47" fmla="*/ 40 h 505"/>
                <a:gd name="T48" fmla="*/ 5 w 582"/>
                <a:gd name="T49" fmla="*/ 43 h 505"/>
                <a:gd name="T50" fmla="*/ 4 w 582"/>
                <a:gd name="T51" fmla="*/ 37 h 505"/>
                <a:gd name="T52" fmla="*/ 0 w 582"/>
                <a:gd name="T53" fmla="*/ 38 h 505"/>
                <a:gd name="T54" fmla="*/ 1 w 582"/>
                <a:gd name="T55" fmla="*/ 32 h 505"/>
                <a:gd name="T56" fmla="*/ 0 w 582"/>
                <a:gd name="T57" fmla="*/ 23 h 50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82"/>
                <a:gd name="T88" fmla="*/ 0 h 505"/>
                <a:gd name="T89" fmla="*/ 582 w 582"/>
                <a:gd name="T90" fmla="*/ 505 h 50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82" h="505">
                  <a:moveTo>
                    <a:pt x="0" y="277"/>
                  </a:moveTo>
                  <a:lnTo>
                    <a:pt x="55" y="295"/>
                  </a:lnTo>
                  <a:lnTo>
                    <a:pt x="182" y="277"/>
                  </a:lnTo>
                  <a:lnTo>
                    <a:pt x="206" y="226"/>
                  </a:lnTo>
                  <a:lnTo>
                    <a:pt x="292" y="198"/>
                  </a:lnTo>
                  <a:lnTo>
                    <a:pt x="300" y="155"/>
                  </a:lnTo>
                  <a:lnTo>
                    <a:pt x="329" y="143"/>
                  </a:lnTo>
                  <a:lnTo>
                    <a:pt x="316" y="121"/>
                  </a:lnTo>
                  <a:lnTo>
                    <a:pt x="347" y="118"/>
                  </a:lnTo>
                  <a:lnTo>
                    <a:pt x="370" y="74"/>
                  </a:lnTo>
                  <a:lnTo>
                    <a:pt x="360" y="32"/>
                  </a:lnTo>
                  <a:lnTo>
                    <a:pt x="475" y="0"/>
                  </a:lnTo>
                  <a:lnTo>
                    <a:pt x="582" y="65"/>
                  </a:lnTo>
                  <a:lnTo>
                    <a:pt x="552" y="92"/>
                  </a:lnTo>
                  <a:lnTo>
                    <a:pt x="453" y="92"/>
                  </a:lnTo>
                  <a:lnTo>
                    <a:pt x="455" y="149"/>
                  </a:lnTo>
                  <a:lnTo>
                    <a:pt x="500" y="184"/>
                  </a:lnTo>
                  <a:lnTo>
                    <a:pt x="473" y="203"/>
                  </a:lnTo>
                  <a:lnTo>
                    <a:pt x="480" y="235"/>
                  </a:lnTo>
                  <a:lnTo>
                    <a:pt x="378" y="351"/>
                  </a:lnTo>
                  <a:lnTo>
                    <a:pt x="331" y="347"/>
                  </a:lnTo>
                  <a:lnTo>
                    <a:pt x="300" y="376"/>
                  </a:lnTo>
                  <a:lnTo>
                    <a:pt x="354" y="482"/>
                  </a:lnTo>
                  <a:lnTo>
                    <a:pt x="276" y="482"/>
                  </a:lnTo>
                  <a:lnTo>
                    <a:pt x="247" y="505"/>
                  </a:lnTo>
                  <a:lnTo>
                    <a:pt x="189" y="441"/>
                  </a:lnTo>
                  <a:lnTo>
                    <a:pt x="28" y="453"/>
                  </a:lnTo>
                  <a:lnTo>
                    <a:pt x="82" y="380"/>
                  </a:lnTo>
                  <a:lnTo>
                    <a:pt x="0" y="27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6" name="Freeform 118"/>
            <p:cNvSpPr>
              <a:spLocks noChangeAspect="1"/>
            </p:cNvSpPr>
            <p:nvPr/>
          </p:nvSpPr>
          <p:spPr bwMode="gray">
            <a:xfrm>
              <a:off x="2181753" y="4002875"/>
              <a:ext cx="140893" cy="74658"/>
            </a:xfrm>
            <a:custGeom>
              <a:avLst/>
              <a:gdLst>
                <a:gd name="T0" fmla="*/ 0 w 196"/>
                <a:gd name="T1" fmla="*/ 4 h 87"/>
                <a:gd name="T2" fmla="*/ 0 w 196"/>
                <a:gd name="T3" fmla="*/ 0 h 87"/>
                <a:gd name="T4" fmla="*/ 1 w 196"/>
                <a:gd name="T5" fmla="*/ 3 h 87"/>
                <a:gd name="T6" fmla="*/ 2 w 196"/>
                <a:gd name="T7" fmla="*/ 1 h 87"/>
                <a:gd name="T8" fmla="*/ 4 w 196"/>
                <a:gd name="T9" fmla="*/ 3 h 87"/>
                <a:gd name="T10" fmla="*/ 3 w 196"/>
                <a:gd name="T11" fmla="*/ 7 h 87"/>
                <a:gd name="T12" fmla="*/ 3 w 196"/>
                <a:gd name="T13" fmla="*/ 4 h 87"/>
                <a:gd name="T14" fmla="*/ 2 w 196"/>
                <a:gd name="T15" fmla="*/ 2 h 87"/>
                <a:gd name="T16" fmla="*/ 2 w 196"/>
                <a:gd name="T17" fmla="*/ 4 h 87"/>
                <a:gd name="T18" fmla="*/ 2 w 196"/>
                <a:gd name="T19" fmla="*/ 6 h 87"/>
                <a:gd name="T20" fmla="*/ 1 w 196"/>
                <a:gd name="T21" fmla="*/ 7 h 87"/>
                <a:gd name="T22" fmla="*/ 0 w 196"/>
                <a:gd name="T23" fmla="*/ 4 h 8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6"/>
                <a:gd name="T37" fmla="*/ 0 h 87"/>
                <a:gd name="T38" fmla="*/ 196 w 196"/>
                <a:gd name="T39" fmla="*/ 87 h 8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6" h="87">
                  <a:moveTo>
                    <a:pt x="0" y="46"/>
                  </a:moveTo>
                  <a:lnTo>
                    <a:pt x="16" y="0"/>
                  </a:lnTo>
                  <a:lnTo>
                    <a:pt x="58" y="28"/>
                  </a:lnTo>
                  <a:lnTo>
                    <a:pt x="132" y="1"/>
                  </a:lnTo>
                  <a:lnTo>
                    <a:pt x="196" y="34"/>
                  </a:lnTo>
                  <a:lnTo>
                    <a:pt x="179" y="84"/>
                  </a:lnTo>
                  <a:lnTo>
                    <a:pt x="174" y="43"/>
                  </a:lnTo>
                  <a:lnTo>
                    <a:pt x="132" y="27"/>
                  </a:lnTo>
                  <a:lnTo>
                    <a:pt x="92" y="52"/>
                  </a:lnTo>
                  <a:lnTo>
                    <a:pt x="102" y="76"/>
                  </a:lnTo>
                  <a:lnTo>
                    <a:pt x="84" y="87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7" name="Freeform 119"/>
            <p:cNvSpPr>
              <a:spLocks noChangeAspect="1"/>
            </p:cNvSpPr>
            <p:nvPr/>
          </p:nvSpPr>
          <p:spPr bwMode="gray">
            <a:xfrm>
              <a:off x="7786838" y="4371187"/>
              <a:ext cx="251157" cy="230610"/>
            </a:xfrm>
            <a:custGeom>
              <a:avLst/>
              <a:gdLst>
                <a:gd name="T0" fmla="*/ 0 w 343"/>
                <a:gd name="T1" fmla="*/ 0 h 268"/>
                <a:gd name="T2" fmla="*/ 0 w 343"/>
                <a:gd name="T3" fmla="*/ 19 h 268"/>
                <a:gd name="T4" fmla="*/ 1 w 343"/>
                <a:gd name="T5" fmla="*/ 19 h 268"/>
                <a:gd name="T6" fmla="*/ 3 w 343"/>
                <a:gd name="T7" fmla="*/ 14 h 268"/>
                <a:gd name="T8" fmla="*/ 4 w 343"/>
                <a:gd name="T9" fmla="*/ 17 h 268"/>
                <a:gd name="T10" fmla="*/ 6 w 343"/>
                <a:gd name="T11" fmla="*/ 21 h 268"/>
                <a:gd name="T12" fmla="*/ 9 w 343"/>
                <a:gd name="T13" fmla="*/ 23 h 268"/>
                <a:gd name="T14" fmla="*/ 5 w 343"/>
                <a:gd name="T15" fmla="*/ 14 h 268"/>
                <a:gd name="T16" fmla="*/ 6 w 343"/>
                <a:gd name="T17" fmla="*/ 10 h 268"/>
                <a:gd name="T18" fmla="*/ 4 w 343"/>
                <a:gd name="T19" fmla="*/ 9 h 268"/>
                <a:gd name="T20" fmla="*/ 3 w 343"/>
                <a:gd name="T21" fmla="*/ 3 h 268"/>
                <a:gd name="T22" fmla="*/ 0 w 343"/>
                <a:gd name="T23" fmla="*/ 0 h 26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3"/>
                <a:gd name="T37" fmla="*/ 0 h 268"/>
                <a:gd name="T38" fmla="*/ 343 w 343"/>
                <a:gd name="T39" fmla="*/ 268 h 26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3" h="268">
                  <a:moveTo>
                    <a:pt x="0" y="0"/>
                  </a:moveTo>
                  <a:lnTo>
                    <a:pt x="5" y="224"/>
                  </a:lnTo>
                  <a:lnTo>
                    <a:pt x="61" y="231"/>
                  </a:lnTo>
                  <a:lnTo>
                    <a:pt x="116" y="170"/>
                  </a:lnTo>
                  <a:lnTo>
                    <a:pt x="178" y="197"/>
                  </a:lnTo>
                  <a:lnTo>
                    <a:pt x="235" y="257"/>
                  </a:lnTo>
                  <a:lnTo>
                    <a:pt x="343" y="268"/>
                  </a:lnTo>
                  <a:lnTo>
                    <a:pt x="220" y="167"/>
                  </a:lnTo>
                  <a:lnTo>
                    <a:pt x="228" y="120"/>
                  </a:lnTo>
                  <a:lnTo>
                    <a:pt x="170" y="103"/>
                  </a:lnTo>
                  <a:lnTo>
                    <a:pt x="115" y="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8" name="Freeform 120"/>
            <p:cNvSpPr>
              <a:spLocks noChangeAspect="1"/>
            </p:cNvSpPr>
            <p:nvPr/>
          </p:nvSpPr>
          <p:spPr bwMode="gray">
            <a:xfrm>
              <a:off x="7969080" y="4420959"/>
              <a:ext cx="107201" cy="59726"/>
            </a:xfrm>
            <a:custGeom>
              <a:avLst/>
              <a:gdLst>
                <a:gd name="T0" fmla="*/ 0 w 143"/>
                <a:gd name="T1" fmla="*/ 3 h 71"/>
                <a:gd name="T2" fmla="*/ 3 w 143"/>
                <a:gd name="T3" fmla="*/ 4 h 71"/>
                <a:gd name="T4" fmla="*/ 5 w 143"/>
                <a:gd name="T5" fmla="*/ 2 h 71"/>
                <a:gd name="T6" fmla="*/ 4 w 143"/>
                <a:gd name="T7" fmla="*/ 0 h 71"/>
                <a:gd name="T8" fmla="*/ 3 w 143"/>
                <a:gd name="T9" fmla="*/ 2 h 71"/>
                <a:gd name="T10" fmla="*/ 0 w 143"/>
                <a:gd name="T11" fmla="*/ 3 h 7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3"/>
                <a:gd name="T19" fmla="*/ 0 h 71"/>
                <a:gd name="T20" fmla="*/ 143 w 143"/>
                <a:gd name="T21" fmla="*/ 71 h 7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3" h="71">
                  <a:moveTo>
                    <a:pt x="0" y="47"/>
                  </a:moveTo>
                  <a:lnTo>
                    <a:pt x="84" y="71"/>
                  </a:lnTo>
                  <a:lnTo>
                    <a:pt x="143" y="22"/>
                  </a:lnTo>
                  <a:lnTo>
                    <a:pt x="119" y="0"/>
                  </a:lnTo>
                  <a:lnTo>
                    <a:pt x="101" y="28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19" name="Freeform 121"/>
            <p:cNvSpPr>
              <a:spLocks noChangeAspect="1"/>
            </p:cNvSpPr>
            <p:nvPr/>
          </p:nvSpPr>
          <p:spPr bwMode="gray">
            <a:xfrm>
              <a:off x="8033400" y="4374505"/>
              <a:ext cx="53601" cy="58067"/>
            </a:xfrm>
            <a:custGeom>
              <a:avLst/>
              <a:gdLst>
                <a:gd name="T0" fmla="*/ 0 w 74"/>
                <a:gd name="T1" fmla="*/ 0 h 68"/>
                <a:gd name="T2" fmla="*/ 1 w 74"/>
                <a:gd name="T3" fmla="*/ 3 h 68"/>
                <a:gd name="T4" fmla="*/ 1 w 74"/>
                <a:gd name="T5" fmla="*/ 5 h 68"/>
                <a:gd name="T6" fmla="*/ 1 w 74"/>
                <a:gd name="T7" fmla="*/ 3 h 68"/>
                <a:gd name="T8" fmla="*/ 0 w 74"/>
                <a:gd name="T9" fmla="*/ 0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68"/>
                <a:gd name="T17" fmla="*/ 74 w 7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68">
                  <a:moveTo>
                    <a:pt x="0" y="0"/>
                  </a:moveTo>
                  <a:lnTo>
                    <a:pt x="56" y="31"/>
                  </a:lnTo>
                  <a:lnTo>
                    <a:pt x="74" y="68"/>
                  </a:lnTo>
                  <a:lnTo>
                    <a:pt x="73" y="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0" name="Freeform 122"/>
            <p:cNvSpPr>
              <a:spLocks noChangeAspect="1"/>
            </p:cNvSpPr>
            <p:nvPr/>
          </p:nvSpPr>
          <p:spPr bwMode="gray">
            <a:xfrm>
              <a:off x="2693255" y="4873884"/>
              <a:ext cx="200619" cy="255496"/>
            </a:xfrm>
            <a:custGeom>
              <a:avLst/>
              <a:gdLst>
                <a:gd name="T0" fmla="*/ 0 w 283"/>
                <a:gd name="T1" fmla="*/ 10 h 295"/>
                <a:gd name="T2" fmla="*/ 0 w 283"/>
                <a:gd name="T3" fmla="*/ 2 h 295"/>
                <a:gd name="T4" fmla="*/ 2 w 283"/>
                <a:gd name="T5" fmla="*/ 0 h 295"/>
                <a:gd name="T6" fmla="*/ 2 w 283"/>
                <a:gd name="T7" fmla="*/ 3 h 295"/>
                <a:gd name="T8" fmla="*/ 3 w 283"/>
                <a:gd name="T9" fmla="*/ 9 h 295"/>
                <a:gd name="T10" fmla="*/ 4 w 283"/>
                <a:gd name="T11" fmla="*/ 10 h 295"/>
                <a:gd name="T12" fmla="*/ 4 w 283"/>
                <a:gd name="T13" fmla="*/ 15 h 295"/>
                <a:gd name="T14" fmla="*/ 4 w 283"/>
                <a:gd name="T15" fmla="*/ 16 h 295"/>
                <a:gd name="T16" fmla="*/ 4 w 283"/>
                <a:gd name="T17" fmla="*/ 21 h 295"/>
                <a:gd name="T18" fmla="*/ 4 w 283"/>
                <a:gd name="T19" fmla="*/ 27 h 295"/>
                <a:gd name="T20" fmla="*/ 2 w 283"/>
                <a:gd name="T21" fmla="*/ 27 h 295"/>
                <a:gd name="T22" fmla="*/ 3 w 283"/>
                <a:gd name="T23" fmla="*/ 20 h 295"/>
                <a:gd name="T24" fmla="*/ 0 w 283"/>
                <a:gd name="T25" fmla="*/ 10 h 29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3"/>
                <a:gd name="T40" fmla="*/ 0 h 295"/>
                <a:gd name="T41" fmla="*/ 283 w 283"/>
                <a:gd name="T42" fmla="*/ 295 h 29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3" h="295">
                  <a:moveTo>
                    <a:pt x="0" y="110"/>
                  </a:moveTo>
                  <a:lnTo>
                    <a:pt x="21" y="17"/>
                  </a:lnTo>
                  <a:lnTo>
                    <a:pt x="123" y="0"/>
                  </a:lnTo>
                  <a:lnTo>
                    <a:pt x="157" y="32"/>
                  </a:lnTo>
                  <a:lnTo>
                    <a:pt x="166" y="101"/>
                  </a:lnTo>
                  <a:lnTo>
                    <a:pt x="238" y="114"/>
                  </a:lnTo>
                  <a:lnTo>
                    <a:pt x="248" y="161"/>
                  </a:lnTo>
                  <a:lnTo>
                    <a:pt x="283" y="170"/>
                  </a:lnTo>
                  <a:lnTo>
                    <a:pt x="277" y="232"/>
                  </a:lnTo>
                  <a:lnTo>
                    <a:pt x="241" y="295"/>
                  </a:lnTo>
                  <a:lnTo>
                    <a:pt x="147" y="290"/>
                  </a:lnTo>
                  <a:lnTo>
                    <a:pt x="167" y="220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1" name="Freeform 123"/>
            <p:cNvSpPr>
              <a:spLocks noChangeAspect="1"/>
            </p:cNvSpPr>
            <p:nvPr/>
          </p:nvSpPr>
          <p:spPr bwMode="gray">
            <a:xfrm>
              <a:off x="2223102" y="4298188"/>
              <a:ext cx="313946" cy="540855"/>
            </a:xfrm>
            <a:custGeom>
              <a:avLst/>
              <a:gdLst>
                <a:gd name="T0" fmla="*/ 0 w 435"/>
                <a:gd name="T1" fmla="*/ 12 h 627"/>
                <a:gd name="T2" fmla="*/ 0 w 435"/>
                <a:gd name="T3" fmla="*/ 17 h 627"/>
                <a:gd name="T4" fmla="*/ 2 w 435"/>
                <a:gd name="T5" fmla="*/ 24 h 627"/>
                <a:gd name="T6" fmla="*/ 4 w 435"/>
                <a:gd name="T7" fmla="*/ 43 h 627"/>
                <a:gd name="T8" fmla="*/ 8 w 435"/>
                <a:gd name="T9" fmla="*/ 55 h 627"/>
                <a:gd name="T10" fmla="*/ 8 w 435"/>
                <a:gd name="T11" fmla="*/ 53 h 627"/>
                <a:gd name="T12" fmla="*/ 8 w 435"/>
                <a:gd name="T13" fmla="*/ 49 h 627"/>
                <a:gd name="T14" fmla="*/ 8 w 435"/>
                <a:gd name="T15" fmla="*/ 47 h 627"/>
                <a:gd name="T16" fmla="*/ 8 w 435"/>
                <a:gd name="T17" fmla="*/ 46 h 627"/>
                <a:gd name="T18" fmla="*/ 8 w 435"/>
                <a:gd name="T19" fmla="*/ 37 h 627"/>
                <a:gd name="T20" fmla="*/ 8 w 435"/>
                <a:gd name="T21" fmla="*/ 33 h 627"/>
                <a:gd name="T22" fmla="*/ 8 w 435"/>
                <a:gd name="T23" fmla="*/ 33 h 627"/>
                <a:gd name="T24" fmla="*/ 8 w 435"/>
                <a:gd name="T25" fmla="*/ 28 h 627"/>
                <a:gd name="T26" fmla="*/ 7 w 435"/>
                <a:gd name="T27" fmla="*/ 30 h 627"/>
                <a:gd name="T28" fmla="*/ 6 w 435"/>
                <a:gd name="T29" fmla="*/ 28 h 627"/>
                <a:gd name="T30" fmla="*/ 5 w 435"/>
                <a:gd name="T31" fmla="*/ 22 h 627"/>
                <a:gd name="T32" fmla="*/ 6 w 435"/>
                <a:gd name="T33" fmla="*/ 15 h 627"/>
                <a:gd name="T34" fmla="*/ 8 w 435"/>
                <a:gd name="T35" fmla="*/ 12 h 627"/>
                <a:gd name="T36" fmla="*/ 8 w 435"/>
                <a:gd name="T37" fmla="*/ 11 h 627"/>
                <a:gd name="T38" fmla="*/ 8 w 435"/>
                <a:gd name="T39" fmla="*/ 7 h 627"/>
                <a:gd name="T40" fmla="*/ 6 w 435"/>
                <a:gd name="T41" fmla="*/ 7 h 627"/>
                <a:gd name="T42" fmla="*/ 4 w 435"/>
                <a:gd name="T43" fmla="*/ 0 h 627"/>
                <a:gd name="T44" fmla="*/ 4 w 435"/>
                <a:gd name="T45" fmla="*/ 5 h 627"/>
                <a:gd name="T46" fmla="*/ 2 w 435"/>
                <a:gd name="T47" fmla="*/ 9 h 627"/>
                <a:gd name="T48" fmla="*/ 1 w 435"/>
                <a:gd name="T49" fmla="*/ 15 h 627"/>
                <a:gd name="T50" fmla="*/ 0 w 435"/>
                <a:gd name="T51" fmla="*/ 14 h 627"/>
                <a:gd name="T52" fmla="*/ 0 w 435"/>
                <a:gd name="T53" fmla="*/ 10 h 627"/>
                <a:gd name="T54" fmla="*/ 0 w 435"/>
                <a:gd name="T55" fmla="*/ 12 h 62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35"/>
                <a:gd name="T85" fmla="*/ 0 h 627"/>
                <a:gd name="T86" fmla="*/ 435 w 435"/>
                <a:gd name="T87" fmla="*/ 627 h 62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35" h="627">
                  <a:moveTo>
                    <a:pt x="0" y="146"/>
                  </a:moveTo>
                  <a:lnTo>
                    <a:pt x="8" y="196"/>
                  </a:lnTo>
                  <a:lnTo>
                    <a:pt x="87" y="283"/>
                  </a:lnTo>
                  <a:lnTo>
                    <a:pt x="175" y="489"/>
                  </a:lnTo>
                  <a:lnTo>
                    <a:pt x="373" y="627"/>
                  </a:lnTo>
                  <a:lnTo>
                    <a:pt x="407" y="602"/>
                  </a:lnTo>
                  <a:lnTo>
                    <a:pt x="425" y="558"/>
                  </a:lnTo>
                  <a:lnTo>
                    <a:pt x="396" y="543"/>
                  </a:lnTo>
                  <a:lnTo>
                    <a:pt x="414" y="530"/>
                  </a:lnTo>
                  <a:lnTo>
                    <a:pt x="435" y="424"/>
                  </a:lnTo>
                  <a:lnTo>
                    <a:pt x="405" y="374"/>
                  </a:lnTo>
                  <a:lnTo>
                    <a:pt x="374" y="374"/>
                  </a:lnTo>
                  <a:lnTo>
                    <a:pt x="374" y="316"/>
                  </a:lnTo>
                  <a:lnTo>
                    <a:pt x="337" y="341"/>
                  </a:lnTo>
                  <a:lnTo>
                    <a:pt x="290" y="319"/>
                  </a:lnTo>
                  <a:lnTo>
                    <a:pt x="260" y="255"/>
                  </a:lnTo>
                  <a:lnTo>
                    <a:pt x="308" y="174"/>
                  </a:lnTo>
                  <a:lnTo>
                    <a:pt x="396" y="139"/>
                  </a:lnTo>
                  <a:lnTo>
                    <a:pt x="372" y="124"/>
                  </a:lnTo>
                  <a:lnTo>
                    <a:pt x="386" y="84"/>
                  </a:lnTo>
                  <a:lnTo>
                    <a:pt x="287" y="77"/>
                  </a:lnTo>
                  <a:lnTo>
                    <a:pt x="211" y="0"/>
                  </a:lnTo>
                  <a:lnTo>
                    <a:pt x="194" y="56"/>
                  </a:lnTo>
                  <a:lnTo>
                    <a:pt x="116" y="104"/>
                  </a:lnTo>
                  <a:lnTo>
                    <a:pt x="76" y="163"/>
                  </a:lnTo>
                  <a:lnTo>
                    <a:pt x="30" y="154"/>
                  </a:lnTo>
                  <a:lnTo>
                    <a:pt x="35" y="118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2" name="Freeform 124"/>
            <p:cNvSpPr>
              <a:spLocks noChangeAspect="1"/>
            </p:cNvSpPr>
            <p:nvPr/>
          </p:nvSpPr>
          <p:spPr bwMode="gray">
            <a:xfrm>
              <a:off x="7189575" y="3953103"/>
              <a:ext cx="58195" cy="87930"/>
            </a:xfrm>
            <a:custGeom>
              <a:avLst/>
              <a:gdLst>
                <a:gd name="T0" fmla="*/ 0 w 80"/>
                <a:gd name="T1" fmla="*/ 12 h 100"/>
                <a:gd name="T2" fmla="*/ 1 w 80"/>
                <a:gd name="T3" fmla="*/ 6 h 100"/>
                <a:gd name="T4" fmla="*/ 2 w 80"/>
                <a:gd name="T5" fmla="*/ 0 h 100"/>
                <a:gd name="T6" fmla="*/ 0 w 80"/>
                <a:gd name="T7" fmla="*/ 12 h 1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100"/>
                <a:gd name="T14" fmla="*/ 80 w 80"/>
                <a:gd name="T15" fmla="*/ 100 h 1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100">
                  <a:moveTo>
                    <a:pt x="0" y="100"/>
                  </a:moveTo>
                  <a:lnTo>
                    <a:pt x="55" y="53"/>
                  </a:lnTo>
                  <a:lnTo>
                    <a:pt x="80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3" name="Freeform 125"/>
            <p:cNvSpPr>
              <a:spLocks noChangeAspect="1"/>
            </p:cNvSpPr>
            <p:nvPr/>
          </p:nvSpPr>
          <p:spPr bwMode="gray">
            <a:xfrm>
              <a:off x="5848030" y="3377408"/>
              <a:ext cx="99544" cy="185815"/>
            </a:xfrm>
            <a:custGeom>
              <a:avLst/>
              <a:gdLst>
                <a:gd name="T0" fmla="*/ 0 w 142"/>
                <a:gd name="T1" fmla="*/ 10 h 211"/>
                <a:gd name="T2" fmla="*/ 0 w 142"/>
                <a:gd name="T3" fmla="*/ 0 h 211"/>
                <a:gd name="T4" fmla="*/ 1 w 142"/>
                <a:gd name="T5" fmla="*/ 1 h 211"/>
                <a:gd name="T6" fmla="*/ 1 w 142"/>
                <a:gd name="T7" fmla="*/ 7 h 211"/>
                <a:gd name="T8" fmla="*/ 0 w 142"/>
                <a:gd name="T9" fmla="*/ 13 h 211"/>
                <a:gd name="T10" fmla="*/ 1 w 142"/>
                <a:gd name="T11" fmla="*/ 18 h 211"/>
                <a:gd name="T12" fmla="*/ 2 w 142"/>
                <a:gd name="T13" fmla="*/ 20 h 211"/>
                <a:gd name="T14" fmla="*/ 2 w 142"/>
                <a:gd name="T15" fmla="*/ 25 h 211"/>
                <a:gd name="T16" fmla="*/ 1 w 142"/>
                <a:gd name="T17" fmla="*/ 20 h 211"/>
                <a:gd name="T18" fmla="*/ 1 w 142"/>
                <a:gd name="T19" fmla="*/ 22 h 211"/>
                <a:gd name="T20" fmla="*/ 0 w 142"/>
                <a:gd name="T21" fmla="*/ 20 h 211"/>
                <a:gd name="T22" fmla="*/ 0 w 142"/>
                <a:gd name="T23" fmla="*/ 10 h 2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2"/>
                <a:gd name="T37" fmla="*/ 0 h 211"/>
                <a:gd name="T38" fmla="*/ 142 w 142"/>
                <a:gd name="T39" fmla="*/ 211 h 2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2" h="211">
                  <a:moveTo>
                    <a:pt x="0" y="83"/>
                  </a:moveTo>
                  <a:lnTo>
                    <a:pt x="27" y="0"/>
                  </a:lnTo>
                  <a:lnTo>
                    <a:pt x="78" y="2"/>
                  </a:lnTo>
                  <a:lnTo>
                    <a:pt x="90" y="57"/>
                  </a:lnTo>
                  <a:lnTo>
                    <a:pt x="52" y="113"/>
                  </a:lnTo>
                  <a:lnTo>
                    <a:pt x="60" y="146"/>
                  </a:lnTo>
                  <a:lnTo>
                    <a:pt x="136" y="167"/>
                  </a:lnTo>
                  <a:lnTo>
                    <a:pt x="142" y="211"/>
                  </a:lnTo>
                  <a:lnTo>
                    <a:pt x="96" y="167"/>
                  </a:lnTo>
                  <a:lnTo>
                    <a:pt x="96" y="188"/>
                  </a:lnTo>
                  <a:lnTo>
                    <a:pt x="27" y="167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4" name="Freeform 126"/>
            <p:cNvSpPr>
              <a:spLocks noChangeAspect="1"/>
            </p:cNvSpPr>
            <p:nvPr/>
          </p:nvSpPr>
          <p:spPr bwMode="gray">
            <a:xfrm>
              <a:off x="7266147" y="3890059"/>
              <a:ext cx="29097" cy="34840"/>
            </a:xfrm>
            <a:custGeom>
              <a:avLst/>
              <a:gdLst>
                <a:gd name="T0" fmla="*/ 0 w 40"/>
                <a:gd name="T1" fmla="*/ 0 h 42"/>
                <a:gd name="T2" fmla="*/ 0 w 40"/>
                <a:gd name="T3" fmla="*/ 0 h 42"/>
                <a:gd name="T4" fmla="*/ 1 w 40"/>
                <a:gd name="T5" fmla="*/ 1 h 42"/>
                <a:gd name="T6" fmla="*/ 0 w 40"/>
                <a:gd name="T7" fmla="*/ 3 h 42"/>
                <a:gd name="T8" fmla="*/ 0 w 40"/>
                <a:gd name="T9" fmla="*/ 0 h 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2"/>
                <a:gd name="T17" fmla="*/ 40 w 40"/>
                <a:gd name="T18" fmla="*/ 42 h 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2">
                  <a:moveTo>
                    <a:pt x="0" y="0"/>
                  </a:moveTo>
                  <a:lnTo>
                    <a:pt x="21" y="0"/>
                  </a:lnTo>
                  <a:lnTo>
                    <a:pt x="40" y="8"/>
                  </a:lnTo>
                  <a:lnTo>
                    <a:pt x="30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5" name="Freeform 127"/>
            <p:cNvSpPr>
              <a:spLocks noChangeAspect="1"/>
            </p:cNvSpPr>
            <p:nvPr/>
          </p:nvSpPr>
          <p:spPr bwMode="gray">
            <a:xfrm>
              <a:off x="7307496" y="3934853"/>
              <a:ext cx="26035" cy="48113"/>
            </a:xfrm>
            <a:custGeom>
              <a:avLst/>
              <a:gdLst>
                <a:gd name="T0" fmla="*/ 0 w 37"/>
                <a:gd name="T1" fmla="*/ 0 h 55"/>
                <a:gd name="T2" fmla="*/ 0 w 37"/>
                <a:gd name="T3" fmla="*/ 6 h 55"/>
                <a:gd name="T4" fmla="*/ 0 w 37"/>
                <a:gd name="T5" fmla="*/ 3 h 55"/>
                <a:gd name="T6" fmla="*/ 0 w 37"/>
                <a:gd name="T7" fmla="*/ 0 h 5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"/>
                <a:gd name="T13" fmla="*/ 0 h 55"/>
                <a:gd name="T14" fmla="*/ 37 w 37"/>
                <a:gd name="T15" fmla="*/ 55 h 5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7" h="55">
                  <a:moveTo>
                    <a:pt x="0" y="0"/>
                  </a:moveTo>
                  <a:lnTo>
                    <a:pt x="2" y="55"/>
                  </a:lnTo>
                  <a:lnTo>
                    <a:pt x="37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6" name="Freeform 128"/>
            <p:cNvSpPr>
              <a:spLocks noChangeAspect="1"/>
            </p:cNvSpPr>
            <p:nvPr/>
          </p:nvSpPr>
          <p:spPr bwMode="gray">
            <a:xfrm>
              <a:off x="7307496" y="3999557"/>
              <a:ext cx="107201" cy="124430"/>
            </a:xfrm>
            <a:custGeom>
              <a:avLst/>
              <a:gdLst>
                <a:gd name="T0" fmla="*/ 0 w 152"/>
                <a:gd name="T1" fmla="*/ 9 h 144"/>
                <a:gd name="T2" fmla="*/ 0 w 152"/>
                <a:gd name="T3" fmla="*/ 4 h 144"/>
                <a:gd name="T4" fmla="*/ 1 w 152"/>
                <a:gd name="T5" fmla="*/ 5 h 144"/>
                <a:gd name="T6" fmla="*/ 2 w 152"/>
                <a:gd name="T7" fmla="*/ 0 h 144"/>
                <a:gd name="T8" fmla="*/ 2 w 152"/>
                <a:gd name="T9" fmla="*/ 3 h 144"/>
                <a:gd name="T10" fmla="*/ 2 w 152"/>
                <a:gd name="T11" fmla="*/ 11 h 144"/>
                <a:gd name="T12" fmla="*/ 2 w 152"/>
                <a:gd name="T13" fmla="*/ 8 h 144"/>
                <a:gd name="T14" fmla="*/ 2 w 152"/>
                <a:gd name="T15" fmla="*/ 13 h 144"/>
                <a:gd name="T16" fmla="*/ 1 w 152"/>
                <a:gd name="T17" fmla="*/ 11 h 144"/>
                <a:gd name="T18" fmla="*/ 1 w 152"/>
                <a:gd name="T19" fmla="*/ 6 h 144"/>
                <a:gd name="T20" fmla="*/ 0 w 152"/>
                <a:gd name="T21" fmla="*/ 9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2"/>
                <a:gd name="T34" fmla="*/ 0 h 144"/>
                <a:gd name="T35" fmla="*/ 152 w 152"/>
                <a:gd name="T36" fmla="*/ 144 h 1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2" h="144">
                  <a:moveTo>
                    <a:pt x="0" y="99"/>
                  </a:moveTo>
                  <a:lnTo>
                    <a:pt x="33" y="48"/>
                  </a:lnTo>
                  <a:lnTo>
                    <a:pt x="73" y="56"/>
                  </a:lnTo>
                  <a:lnTo>
                    <a:pt x="126" y="0"/>
                  </a:lnTo>
                  <a:lnTo>
                    <a:pt x="152" y="33"/>
                  </a:lnTo>
                  <a:lnTo>
                    <a:pt x="148" y="119"/>
                  </a:lnTo>
                  <a:lnTo>
                    <a:pt x="135" y="83"/>
                  </a:lnTo>
                  <a:lnTo>
                    <a:pt x="120" y="144"/>
                  </a:lnTo>
                  <a:lnTo>
                    <a:pt x="82" y="127"/>
                  </a:lnTo>
                  <a:lnTo>
                    <a:pt x="59" y="65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7" name="Freeform 129"/>
            <p:cNvSpPr>
              <a:spLocks noChangeAspect="1"/>
            </p:cNvSpPr>
            <p:nvPr/>
          </p:nvSpPr>
          <p:spPr bwMode="gray">
            <a:xfrm>
              <a:off x="7322810" y="3971353"/>
              <a:ext cx="22972" cy="51431"/>
            </a:xfrm>
            <a:custGeom>
              <a:avLst/>
              <a:gdLst>
                <a:gd name="T0" fmla="*/ 0 w 34"/>
                <a:gd name="T1" fmla="*/ 5 h 58"/>
                <a:gd name="T2" fmla="*/ 0 w 34"/>
                <a:gd name="T3" fmla="*/ 3 h 58"/>
                <a:gd name="T4" fmla="*/ 0 w 34"/>
                <a:gd name="T5" fmla="*/ 0 h 58"/>
                <a:gd name="T6" fmla="*/ 0 w 34"/>
                <a:gd name="T7" fmla="*/ 7 h 58"/>
                <a:gd name="T8" fmla="*/ 0 w 34"/>
                <a:gd name="T9" fmla="*/ 5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58"/>
                <a:gd name="T17" fmla="*/ 34 w 34"/>
                <a:gd name="T18" fmla="*/ 58 h 5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58">
                  <a:moveTo>
                    <a:pt x="0" y="38"/>
                  </a:moveTo>
                  <a:lnTo>
                    <a:pt x="8" y="25"/>
                  </a:lnTo>
                  <a:lnTo>
                    <a:pt x="34" y="0"/>
                  </a:lnTo>
                  <a:lnTo>
                    <a:pt x="23" y="5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8" name="Freeform 130"/>
            <p:cNvSpPr>
              <a:spLocks noChangeAspect="1"/>
            </p:cNvSpPr>
            <p:nvPr/>
          </p:nvSpPr>
          <p:spPr bwMode="gray">
            <a:xfrm>
              <a:off x="4610623" y="2469900"/>
              <a:ext cx="251157" cy="227292"/>
            </a:xfrm>
            <a:custGeom>
              <a:avLst/>
              <a:gdLst>
                <a:gd name="T0" fmla="*/ 0 w 345"/>
                <a:gd name="T1" fmla="*/ 5 h 262"/>
                <a:gd name="T2" fmla="*/ 0 w 345"/>
                <a:gd name="T3" fmla="*/ 17 h 262"/>
                <a:gd name="T4" fmla="*/ 5 w 345"/>
                <a:gd name="T5" fmla="*/ 24 h 262"/>
                <a:gd name="T6" fmla="*/ 7 w 345"/>
                <a:gd name="T7" fmla="*/ 25 h 262"/>
                <a:gd name="T8" fmla="*/ 8 w 345"/>
                <a:gd name="T9" fmla="*/ 18 h 262"/>
                <a:gd name="T10" fmla="*/ 7 w 345"/>
                <a:gd name="T11" fmla="*/ 11 h 262"/>
                <a:gd name="T12" fmla="*/ 8 w 345"/>
                <a:gd name="T13" fmla="*/ 9 h 262"/>
                <a:gd name="T14" fmla="*/ 7 w 345"/>
                <a:gd name="T15" fmla="*/ 3 h 262"/>
                <a:gd name="T16" fmla="*/ 4 w 345"/>
                <a:gd name="T17" fmla="*/ 2 h 262"/>
                <a:gd name="T18" fmla="*/ 2 w 345"/>
                <a:gd name="T19" fmla="*/ 0 h 262"/>
                <a:gd name="T20" fmla="*/ 0 w 345"/>
                <a:gd name="T21" fmla="*/ 5 h 26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5"/>
                <a:gd name="T34" fmla="*/ 0 h 262"/>
                <a:gd name="T35" fmla="*/ 345 w 345"/>
                <a:gd name="T36" fmla="*/ 262 h 26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5" h="262">
                  <a:moveTo>
                    <a:pt x="0" y="48"/>
                  </a:moveTo>
                  <a:lnTo>
                    <a:pt x="20" y="185"/>
                  </a:lnTo>
                  <a:lnTo>
                    <a:pt x="201" y="253"/>
                  </a:lnTo>
                  <a:lnTo>
                    <a:pt x="289" y="262"/>
                  </a:lnTo>
                  <a:lnTo>
                    <a:pt x="345" y="193"/>
                  </a:lnTo>
                  <a:lnTo>
                    <a:pt x="317" y="115"/>
                  </a:lnTo>
                  <a:lnTo>
                    <a:pt x="339" y="94"/>
                  </a:lnTo>
                  <a:lnTo>
                    <a:pt x="324" y="34"/>
                  </a:lnTo>
                  <a:lnTo>
                    <a:pt x="192" y="15"/>
                  </a:lnTo>
                  <a:lnTo>
                    <a:pt x="107" y="0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29" name="Freeform 131"/>
            <p:cNvSpPr>
              <a:spLocks noChangeAspect="1"/>
            </p:cNvSpPr>
            <p:nvPr/>
          </p:nvSpPr>
          <p:spPr bwMode="gray">
            <a:xfrm>
              <a:off x="4027143" y="2969278"/>
              <a:ext cx="79635" cy="165906"/>
            </a:xfrm>
            <a:custGeom>
              <a:avLst/>
              <a:gdLst>
                <a:gd name="T0" fmla="*/ 0 w 109"/>
                <a:gd name="T1" fmla="*/ 11 h 192"/>
                <a:gd name="T2" fmla="*/ 0 w 109"/>
                <a:gd name="T3" fmla="*/ 0 h 192"/>
                <a:gd name="T4" fmla="*/ 2 w 109"/>
                <a:gd name="T5" fmla="*/ 1 h 192"/>
                <a:gd name="T6" fmla="*/ 1 w 109"/>
                <a:gd name="T7" fmla="*/ 8 h 192"/>
                <a:gd name="T8" fmla="*/ 1 w 109"/>
                <a:gd name="T9" fmla="*/ 17 h 192"/>
                <a:gd name="T10" fmla="*/ 0 w 109"/>
                <a:gd name="T11" fmla="*/ 17 h 192"/>
                <a:gd name="T12" fmla="*/ 0 w 109"/>
                <a:gd name="T13" fmla="*/ 11 h 192"/>
                <a:gd name="T14" fmla="*/ 0 w 109"/>
                <a:gd name="T15" fmla="*/ 11 h 19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9"/>
                <a:gd name="T25" fmla="*/ 0 h 192"/>
                <a:gd name="T26" fmla="*/ 109 w 109"/>
                <a:gd name="T27" fmla="*/ 192 h 19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9" h="192">
                  <a:moveTo>
                    <a:pt x="0" y="125"/>
                  </a:moveTo>
                  <a:lnTo>
                    <a:pt x="19" y="0"/>
                  </a:lnTo>
                  <a:lnTo>
                    <a:pt x="109" y="8"/>
                  </a:lnTo>
                  <a:lnTo>
                    <a:pt x="69" y="88"/>
                  </a:lnTo>
                  <a:lnTo>
                    <a:pt x="69" y="187"/>
                  </a:lnTo>
                  <a:lnTo>
                    <a:pt x="16" y="192"/>
                  </a:lnTo>
                  <a:lnTo>
                    <a:pt x="23" y="132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0" name="Freeform 132"/>
            <p:cNvSpPr>
              <a:spLocks noChangeAspect="1"/>
            </p:cNvSpPr>
            <p:nvPr/>
          </p:nvSpPr>
          <p:spPr bwMode="gray">
            <a:xfrm>
              <a:off x="4760705" y="2730373"/>
              <a:ext cx="240437" cy="167565"/>
            </a:xfrm>
            <a:custGeom>
              <a:avLst/>
              <a:gdLst>
                <a:gd name="T0" fmla="*/ 0 w 329"/>
                <a:gd name="T1" fmla="*/ 9 h 193"/>
                <a:gd name="T2" fmla="*/ 2 w 329"/>
                <a:gd name="T3" fmla="*/ 17 h 193"/>
                <a:gd name="T4" fmla="*/ 7 w 329"/>
                <a:gd name="T5" fmla="*/ 19 h 193"/>
                <a:gd name="T6" fmla="*/ 8 w 329"/>
                <a:gd name="T7" fmla="*/ 12 h 193"/>
                <a:gd name="T8" fmla="*/ 7 w 329"/>
                <a:gd name="T9" fmla="*/ 12 h 193"/>
                <a:gd name="T10" fmla="*/ 7 w 329"/>
                <a:gd name="T11" fmla="*/ 6 h 193"/>
                <a:gd name="T12" fmla="*/ 5 w 329"/>
                <a:gd name="T13" fmla="*/ 0 h 193"/>
                <a:gd name="T14" fmla="*/ 2 w 329"/>
                <a:gd name="T15" fmla="*/ 2 h 193"/>
                <a:gd name="T16" fmla="*/ 0 w 329"/>
                <a:gd name="T17" fmla="*/ 9 h 19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29"/>
                <a:gd name="T28" fmla="*/ 0 h 193"/>
                <a:gd name="T29" fmla="*/ 329 w 329"/>
                <a:gd name="T30" fmla="*/ 193 h 19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29" h="193">
                  <a:moveTo>
                    <a:pt x="0" y="94"/>
                  </a:moveTo>
                  <a:lnTo>
                    <a:pt x="89" y="174"/>
                  </a:lnTo>
                  <a:lnTo>
                    <a:pt x="293" y="193"/>
                  </a:lnTo>
                  <a:lnTo>
                    <a:pt x="329" y="126"/>
                  </a:lnTo>
                  <a:lnTo>
                    <a:pt x="277" y="122"/>
                  </a:lnTo>
                  <a:lnTo>
                    <a:pt x="272" y="63"/>
                  </a:lnTo>
                  <a:lnTo>
                    <a:pt x="226" y="0"/>
                  </a:lnTo>
                  <a:lnTo>
                    <a:pt x="89" y="13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1" name="Freeform 133"/>
            <p:cNvSpPr>
              <a:spLocks noChangeAspect="1"/>
            </p:cNvSpPr>
            <p:nvPr/>
          </p:nvSpPr>
          <p:spPr bwMode="gray">
            <a:xfrm>
              <a:off x="5128251" y="3297773"/>
              <a:ext cx="522222" cy="524264"/>
            </a:xfrm>
            <a:custGeom>
              <a:avLst/>
              <a:gdLst>
                <a:gd name="T0" fmla="*/ 0 w 731"/>
                <a:gd name="T1" fmla="*/ 14 h 607"/>
                <a:gd name="T2" fmla="*/ 0 w 731"/>
                <a:gd name="T3" fmla="*/ 9 h 607"/>
                <a:gd name="T4" fmla="*/ 1 w 731"/>
                <a:gd name="T5" fmla="*/ 10 h 607"/>
                <a:gd name="T6" fmla="*/ 1 w 731"/>
                <a:gd name="T7" fmla="*/ 8 h 607"/>
                <a:gd name="T8" fmla="*/ 2 w 731"/>
                <a:gd name="T9" fmla="*/ 5 h 607"/>
                <a:gd name="T10" fmla="*/ 1 w 731"/>
                <a:gd name="T11" fmla="*/ 2 h 607"/>
                <a:gd name="T12" fmla="*/ 3 w 731"/>
                <a:gd name="T13" fmla="*/ 0 h 607"/>
                <a:gd name="T14" fmla="*/ 6 w 731"/>
                <a:gd name="T15" fmla="*/ 6 h 607"/>
                <a:gd name="T16" fmla="*/ 6 w 731"/>
                <a:gd name="T17" fmla="*/ 8 h 607"/>
                <a:gd name="T18" fmla="*/ 6 w 731"/>
                <a:gd name="T19" fmla="*/ 10 h 607"/>
                <a:gd name="T20" fmla="*/ 7 w 731"/>
                <a:gd name="T21" fmla="*/ 11 h 607"/>
                <a:gd name="T22" fmla="*/ 7 w 731"/>
                <a:gd name="T23" fmla="*/ 10 h 607"/>
                <a:gd name="T24" fmla="*/ 8 w 731"/>
                <a:gd name="T25" fmla="*/ 12 h 607"/>
                <a:gd name="T26" fmla="*/ 10 w 731"/>
                <a:gd name="T27" fmla="*/ 24 h 607"/>
                <a:gd name="T28" fmla="*/ 10 w 731"/>
                <a:gd name="T29" fmla="*/ 26 h 607"/>
                <a:gd name="T30" fmla="*/ 10 w 731"/>
                <a:gd name="T31" fmla="*/ 30 h 607"/>
                <a:gd name="T32" fmla="*/ 12 w 731"/>
                <a:gd name="T33" fmla="*/ 31 h 607"/>
                <a:gd name="T34" fmla="*/ 13 w 731"/>
                <a:gd name="T35" fmla="*/ 34 h 607"/>
                <a:gd name="T36" fmla="*/ 12 w 731"/>
                <a:gd name="T37" fmla="*/ 40 h 607"/>
                <a:gd name="T38" fmla="*/ 10 w 731"/>
                <a:gd name="T39" fmla="*/ 43 h 607"/>
                <a:gd name="T40" fmla="*/ 8 w 731"/>
                <a:gd name="T41" fmla="*/ 45 h 607"/>
                <a:gd name="T42" fmla="*/ 7 w 731"/>
                <a:gd name="T43" fmla="*/ 54 h 607"/>
                <a:gd name="T44" fmla="*/ 7 w 731"/>
                <a:gd name="T45" fmla="*/ 50 h 607"/>
                <a:gd name="T46" fmla="*/ 6 w 731"/>
                <a:gd name="T47" fmla="*/ 48 h 607"/>
                <a:gd name="T48" fmla="*/ 5 w 731"/>
                <a:gd name="T49" fmla="*/ 51 h 607"/>
                <a:gd name="T50" fmla="*/ 4 w 731"/>
                <a:gd name="T51" fmla="*/ 42 h 607"/>
                <a:gd name="T52" fmla="*/ 3 w 731"/>
                <a:gd name="T53" fmla="*/ 38 h 607"/>
                <a:gd name="T54" fmla="*/ 2 w 731"/>
                <a:gd name="T55" fmla="*/ 28 h 607"/>
                <a:gd name="T56" fmla="*/ 0 w 731"/>
                <a:gd name="T57" fmla="*/ 14 h 60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31"/>
                <a:gd name="T88" fmla="*/ 0 h 607"/>
                <a:gd name="T89" fmla="*/ 731 w 731"/>
                <a:gd name="T90" fmla="*/ 607 h 60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31" h="607">
                  <a:moveTo>
                    <a:pt x="0" y="158"/>
                  </a:moveTo>
                  <a:lnTo>
                    <a:pt x="10" y="106"/>
                  </a:lnTo>
                  <a:lnTo>
                    <a:pt x="49" y="117"/>
                  </a:lnTo>
                  <a:lnTo>
                    <a:pt x="96" y="85"/>
                  </a:lnTo>
                  <a:lnTo>
                    <a:pt x="115" y="61"/>
                  </a:lnTo>
                  <a:lnTo>
                    <a:pt x="77" y="26"/>
                  </a:lnTo>
                  <a:lnTo>
                    <a:pt x="156" y="0"/>
                  </a:lnTo>
                  <a:lnTo>
                    <a:pt x="312" y="70"/>
                  </a:lnTo>
                  <a:lnTo>
                    <a:pt x="314" y="96"/>
                  </a:lnTo>
                  <a:lnTo>
                    <a:pt x="350" y="113"/>
                  </a:lnTo>
                  <a:lnTo>
                    <a:pt x="383" y="130"/>
                  </a:lnTo>
                  <a:lnTo>
                    <a:pt x="414" y="117"/>
                  </a:lnTo>
                  <a:lnTo>
                    <a:pt x="476" y="137"/>
                  </a:lnTo>
                  <a:lnTo>
                    <a:pt x="561" y="276"/>
                  </a:lnTo>
                  <a:lnTo>
                    <a:pt x="570" y="285"/>
                  </a:lnTo>
                  <a:lnTo>
                    <a:pt x="603" y="340"/>
                  </a:lnTo>
                  <a:lnTo>
                    <a:pt x="713" y="353"/>
                  </a:lnTo>
                  <a:lnTo>
                    <a:pt x="731" y="378"/>
                  </a:lnTo>
                  <a:lnTo>
                    <a:pt x="705" y="450"/>
                  </a:lnTo>
                  <a:lnTo>
                    <a:pt x="603" y="486"/>
                  </a:lnTo>
                  <a:lnTo>
                    <a:pt x="492" y="510"/>
                  </a:lnTo>
                  <a:lnTo>
                    <a:pt x="403" y="607"/>
                  </a:lnTo>
                  <a:lnTo>
                    <a:pt x="403" y="570"/>
                  </a:lnTo>
                  <a:lnTo>
                    <a:pt x="340" y="546"/>
                  </a:lnTo>
                  <a:lnTo>
                    <a:pt x="278" y="579"/>
                  </a:lnTo>
                  <a:lnTo>
                    <a:pt x="214" y="469"/>
                  </a:lnTo>
                  <a:lnTo>
                    <a:pt x="163" y="426"/>
                  </a:lnTo>
                  <a:lnTo>
                    <a:pt x="130" y="311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2" name="Freeform 134"/>
            <p:cNvSpPr>
              <a:spLocks noChangeAspect="1"/>
            </p:cNvSpPr>
            <p:nvPr/>
          </p:nvSpPr>
          <p:spPr bwMode="gray">
            <a:xfrm>
              <a:off x="5425351" y="1099512"/>
              <a:ext cx="120984" cy="64704"/>
            </a:xfrm>
            <a:custGeom>
              <a:avLst/>
              <a:gdLst>
                <a:gd name="T0" fmla="*/ 0 w 172"/>
                <a:gd name="T1" fmla="*/ 6 h 74"/>
                <a:gd name="T2" fmla="*/ 0 w 172"/>
                <a:gd name="T3" fmla="*/ 4 h 74"/>
                <a:gd name="T4" fmla="*/ 0 w 172"/>
                <a:gd name="T5" fmla="*/ 2 h 74"/>
                <a:gd name="T6" fmla="*/ 2 w 172"/>
                <a:gd name="T7" fmla="*/ 0 h 74"/>
                <a:gd name="T8" fmla="*/ 2 w 172"/>
                <a:gd name="T9" fmla="*/ 1 h 74"/>
                <a:gd name="T10" fmla="*/ 2 w 172"/>
                <a:gd name="T11" fmla="*/ 2 h 74"/>
                <a:gd name="T12" fmla="*/ 2 w 172"/>
                <a:gd name="T13" fmla="*/ 2 h 74"/>
                <a:gd name="T14" fmla="*/ 1 w 172"/>
                <a:gd name="T15" fmla="*/ 7 h 74"/>
                <a:gd name="T16" fmla="*/ 0 w 172"/>
                <a:gd name="T17" fmla="*/ 8 h 74"/>
                <a:gd name="T18" fmla="*/ 0 w 172"/>
                <a:gd name="T19" fmla="*/ 6 h 74"/>
                <a:gd name="T20" fmla="*/ 0 w 172"/>
                <a:gd name="T21" fmla="*/ 6 h 7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2"/>
                <a:gd name="T34" fmla="*/ 0 h 74"/>
                <a:gd name="T35" fmla="*/ 172 w 172"/>
                <a:gd name="T36" fmla="*/ 74 h 7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2" h="74">
                  <a:moveTo>
                    <a:pt x="0" y="53"/>
                  </a:moveTo>
                  <a:lnTo>
                    <a:pt x="35" y="36"/>
                  </a:lnTo>
                  <a:lnTo>
                    <a:pt x="9" y="22"/>
                  </a:lnTo>
                  <a:lnTo>
                    <a:pt x="132" y="0"/>
                  </a:lnTo>
                  <a:lnTo>
                    <a:pt x="154" y="1"/>
                  </a:lnTo>
                  <a:lnTo>
                    <a:pt x="130" y="20"/>
                  </a:lnTo>
                  <a:lnTo>
                    <a:pt x="172" y="18"/>
                  </a:lnTo>
                  <a:lnTo>
                    <a:pt x="61" y="62"/>
                  </a:lnTo>
                  <a:lnTo>
                    <a:pt x="35" y="74"/>
                  </a:lnTo>
                  <a:lnTo>
                    <a:pt x="42" y="56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3" name="Freeform 135"/>
            <p:cNvSpPr>
              <a:spLocks noChangeAspect="1"/>
            </p:cNvSpPr>
            <p:nvPr/>
          </p:nvSpPr>
          <p:spPr bwMode="gray">
            <a:xfrm>
              <a:off x="5462106" y="1788024"/>
              <a:ext cx="52069" cy="38158"/>
            </a:xfrm>
            <a:custGeom>
              <a:avLst/>
              <a:gdLst>
                <a:gd name="T0" fmla="*/ 0 w 68"/>
                <a:gd name="T1" fmla="*/ 22 h 39"/>
                <a:gd name="T2" fmla="*/ 1 w 68"/>
                <a:gd name="T3" fmla="*/ 0 h 39"/>
                <a:gd name="T4" fmla="*/ 3 w 68"/>
                <a:gd name="T5" fmla="*/ 13 h 39"/>
                <a:gd name="T6" fmla="*/ 0 w 68"/>
                <a:gd name="T7" fmla="*/ 22 h 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8"/>
                <a:gd name="T13" fmla="*/ 0 h 39"/>
                <a:gd name="T14" fmla="*/ 68 w 68"/>
                <a:gd name="T15" fmla="*/ 39 h 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8" h="39">
                  <a:moveTo>
                    <a:pt x="0" y="39"/>
                  </a:moveTo>
                  <a:lnTo>
                    <a:pt x="19" y="0"/>
                  </a:lnTo>
                  <a:lnTo>
                    <a:pt x="68" y="22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4" name="Freeform 136"/>
            <p:cNvSpPr>
              <a:spLocks noChangeAspect="1"/>
            </p:cNvSpPr>
            <p:nvPr/>
          </p:nvSpPr>
          <p:spPr bwMode="gray">
            <a:xfrm>
              <a:off x="5546335" y="1583959"/>
              <a:ext cx="153144" cy="141020"/>
            </a:xfrm>
            <a:custGeom>
              <a:avLst/>
              <a:gdLst>
                <a:gd name="T0" fmla="*/ 0 w 212"/>
                <a:gd name="T1" fmla="*/ 10 h 160"/>
                <a:gd name="T2" fmla="*/ 0 w 212"/>
                <a:gd name="T3" fmla="*/ 13 h 160"/>
                <a:gd name="T4" fmla="*/ 1 w 212"/>
                <a:gd name="T5" fmla="*/ 12 h 160"/>
                <a:gd name="T6" fmla="*/ 1 w 212"/>
                <a:gd name="T7" fmla="*/ 15 h 160"/>
                <a:gd name="T8" fmla="*/ 2 w 212"/>
                <a:gd name="T9" fmla="*/ 13 h 160"/>
                <a:gd name="T10" fmla="*/ 1 w 212"/>
                <a:gd name="T11" fmla="*/ 19 h 160"/>
                <a:gd name="T12" fmla="*/ 4 w 212"/>
                <a:gd name="T13" fmla="*/ 20 h 160"/>
                <a:gd name="T14" fmla="*/ 3 w 212"/>
                <a:gd name="T15" fmla="*/ 16 h 160"/>
                <a:gd name="T16" fmla="*/ 3 w 212"/>
                <a:gd name="T17" fmla="*/ 10 h 160"/>
                <a:gd name="T18" fmla="*/ 3 w 212"/>
                <a:gd name="T19" fmla="*/ 4 h 160"/>
                <a:gd name="T20" fmla="*/ 4 w 212"/>
                <a:gd name="T21" fmla="*/ 0 h 160"/>
                <a:gd name="T22" fmla="*/ 1 w 212"/>
                <a:gd name="T23" fmla="*/ 2 h 160"/>
                <a:gd name="T24" fmla="*/ 0 w 212"/>
                <a:gd name="T25" fmla="*/ 10 h 160"/>
                <a:gd name="T26" fmla="*/ 0 w 212"/>
                <a:gd name="T27" fmla="*/ 10 h 16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2"/>
                <a:gd name="T43" fmla="*/ 0 h 160"/>
                <a:gd name="T44" fmla="*/ 212 w 212"/>
                <a:gd name="T45" fmla="*/ 160 h 16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2" h="160">
                  <a:moveTo>
                    <a:pt x="0" y="79"/>
                  </a:moveTo>
                  <a:lnTo>
                    <a:pt x="17" y="113"/>
                  </a:lnTo>
                  <a:lnTo>
                    <a:pt x="41" y="101"/>
                  </a:lnTo>
                  <a:lnTo>
                    <a:pt x="66" y="124"/>
                  </a:lnTo>
                  <a:lnTo>
                    <a:pt x="86" y="113"/>
                  </a:lnTo>
                  <a:lnTo>
                    <a:pt x="79" y="152"/>
                  </a:lnTo>
                  <a:lnTo>
                    <a:pt x="212" y="160"/>
                  </a:lnTo>
                  <a:lnTo>
                    <a:pt x="160" y="132"/>
                  </a:lnTo>
                  <a:lnTo>
                    <a:pt x="135" y="82"/>
                  </a:lnTo>
                  <a:lnTo>
                    <a:pt x="137" y="30"/>
                  </a:lnTo>
                  <a:lnTo>
                    <a:pt x="170" y="0"/>
                  </a:lnTo>
                  <a:lnTo>
                    <a:pt x="54" y="11"/>
                  </a:lnTo>
                  <a:lnTo>
                    <a:pt x="27" y="79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5" name="Freeform 137"/>
            <p:cNvSpPr>
              <a:spLocks noChangeAspect="1"/>
            </p:cNvSpPr>
            <p:nvPr/>
          </p:nvSpPr>
          <p:spPr bwMode="gray">
            <a:xfrm>
              <a:off x="5599936" y="1359985"/>
              <a:ext cx="381330" cy="223974"/>
            </a:xfrm>
            <a:custGeom>
              <a:avLst/>
              <a:gdLst>
                <a:gd name="T0" fmla="*/ 0 w 532"/>
                <a:gd name="T1" fmla="*/ 21 h 258"/>
                <a:gd name="T2" fmla="*/ 1 w 532"/>
                <a:gd name="T3" fmla="*/ 22 h 258"/>
                <a:gd name="T4" fmla="*/ 0 w 532"/>
                <a:gd name="T5" fmla="*/ 24 h 258"/>
                <a:gd name="T6" fmla="*/ 2 w 532"/>
                <a:gd name="T7" fmla="*/ 25 h 258"/>
                <a:gd name="T8" fmla="*/ 2 w 532"/>
                <a:gd name="T9" fmla="*/ 22 h 258"/>
                <a:gd name="T10" fmla="*/ 2 w 532"/>
                <a:gd name="T11" fmla="*/ 23 h 258"/>
                <a:gd name="T12" fmla="*/ 2 w 532"/>
                <a:gd name="T13" fmla="*/ 21 h 258"/>
                <a:gd name="T14" fmla="*/ 3 w 532"/>
                <a:gd name="T15" fmla="*/ 21 h 258"/>
                <a:gd name="T16" fmla="*/ 2 w 532"/>
                <a:gd name="T17" fmla="*/ 18 h 258"/>
                <a:gd name="T18" fmla="*/ 3 w 532"/>
                <a:gd name="T19" fmla="*/ 20 h 258"/>
                <a:gd name="T20" fmla="*/ 3 w 532"/>
                <a:gd name="T21" fmla="*/ 18 h 258"/>
                <a:gd name="T22" fmla="*/ 3 w 532"/>
                <a:gd name="T23" fmla="*/ 16 h 258"/>
                <a:gd name="T24" fmla="*/ 4 w 532"/>
                <a:gd name="T25" fmla="*/ 17 h 258"/>
                <a:gd name="T26" fmla="*/ 3 w 532"/>
                <a:gd name="T27" fmla="*/ 16 h 258"/>
                <a:gd name="T28" fmla="*/ 4 w 532"/>
                <a:gd name="T29" fmla="*/ 16 h 258"/>
                <a:gd name="T30" fmla="*/ 4 w 532"/>
                <a:gd name="T31" fmla="*/ 13 h 258"/>
                <a:gd name="T32" fmla="*/ 9 w 532"/>
                <a:gd name="T33" fmla="*/ 5 h 258"/>
                <a:gd name="T34" fmla="*/ 10 w 532"/>
                <a:gd name="T35" fmla="*/ 2 h 258"/>
                <a:gd name="T36" fmla="*/ 8 w 532"/>
                <a:gd name="T37" fmla="*/ 0 h 258"/>
                <a:gd name="T38" fmla="*/ 7 w 532"/>
                <a:gd name="T39" fmla="*/ 5 h 258"/>
                <a:gd name="T40" fmla="*/ 5 w 532"/>
                <a:gd name="T41" fmla="*/ 5 h 258"/>
                <a:gd name="T42" fmla="*/ 2 w 532"/>
                <a:gd name="T43" fmla="*/ 12 h 258"/>
                <a:gd name="T44" fmla="*/ 1 w 532"/>
                <a:gd name="T45" fmla="*/ 13 h 258"/>
                <a:gd name="T46" fmla="*/ 1 w 532"/>
                <a:gd name="T47" fmla="*/ 16 h 258"/>
                <a:gd name="T48" fmla="*/ 2 w 532"/>
                <a:gd name="T49" fmla="*/ 16 h 258"/>
                <a:gd name="T50" fmla="*/ 1 w 532"/>
                <a:gd name="T51" fmla="*/ 16 h 258"/>
                <a:gd name="T52" fmla="*/ 1 w 532"/>
                <a:gd name="T53" fmla="*/ 17 h 258"/>
                <a:gd name="T54" fmla="*/ 1 w 532"/>
                <a:gd name="T55" fmla="*/ 18 h 258"/>
                <a:gd name="T56" fmla="*/ 1 w 532"/>
                <a:gd name="T57" fmla="*/ 20 h 258"/>
                <a:gd name="T58" fmla="*/ 0 w 532"/>
                <a:gd name="T59" fmla="*/ 21 h 2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32"/>
                <a:gd name="T91" fmla="*/ 0 h 258"/>
                <a:gd name="T92" fmla="*/ 532 w 532"/>
                <a:gd name="T93" fmla="*/ 258 h 2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32" h="258">
                  <a:moveTo>
                    <a:pt x="0" y="222"/>
                  </a:moveTo>
                  <a:lnTo>
                    <a:pt x="50" y="229"/>
                  </a:lnTo>
                  <a:lnTo>
                    <a:pt x="17" y="251"/>
                  </a:lnTo>
                  <a:lnTo>
                    <a:pt x="105" y="258"/>
                  </a:lnTo>
                  <a:lnTo>
                    <a:pt x="107" y="229"/>
                  </a:lnTo>
                  <a:lnTo>
                    <a:pt x="132" y="234"/>
                  </a:lnTo>
                  <a:lnTo>
                    <a:pt x="106" y="217"/>
                  </a:lnTo>
                  <a:lnTo>
                    <a:pt x="143" y="223"/>
                  </a:lnTo>
                  <a:lnTo>
                    <a:pt x="133" y="190"/>
                  </a:lnTo>
                  <a:lnTo>
                    <a:pt x="153" y="209"/>
                  </a:lnTo>
                  <a:lnTo>
                    <a:pt x="177" y="191"/>
                  </a:lnTo>
                  <a:lnTo>
                    <a:pt x="161" y="170"/>
                  </a:lnTo>
                  <a:lnTo>
                    <a:pt x="215" y="173"/>
                  </a:lnTo>
                  <a:lnTo>
                    <a:pt x="200" y="161"/>
                  </a:lnTo>
                  <a:lnTo>
                    <a:pt x="225" y="163"/>
                  </a:lnTo>
                  <a:lnTo>
                    <a:pt x="240" y="137"/>
                  </a:lnTo>
                  <a:lnTo>
                    <a:pt x="505" y="54"/>
                  </a:lnTo>
                  <a:lnTo>
                    <a:pt x="532" y="22"/>
                  </a:lnTo>
                  <a:lnTo>
                    <a:pt x="481" y="0"/>
                  </a:lnTo>
                  <a:lnTo>
                    <a:pt x="369" y="52"/>
                  </a:lnTo>
                  <a:lnTo>
                    <a:pt x="254" y="52"/>
                  </a:lnTo>
                  <a:lnTo>
                    <a:pt x="131" y="121"/>
                  </a:lnTo>
                  <a:lnTo>
                    <a:pt x="63" y="130"/>
                  </a:lnTo>
                  <a:lnTo>
                    <a:pt x="67" y="161"/>
                  </a:lnTo>
                  <a:lnTo>
                    <a:pt x="104" y="163"/>
                  </a:lnTo>
                  <a:lnTo>
                    <a:pt x="62" y="164"/>
                  </a:lnTo>
                  <a:lnTo>
                    <a:pt x="81" y="178"/>
                  </a:lnTo>
                  <a:lnTo>
                    <a:pt x="50" y="191"/>
                  </a:lnTo>
                  <a:lnTo>
                    <a:pt x="85" y="206"/>
                  </a:lnTo>
                  <a:lnTo>
                    <a:pt x="0" y="22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6" name="Freeform 138"/>
            <p:cNvSpPr>
              <a:spLocks noChangeAspect="1"/>
            </p:cNvSpPr>
            <p:nvPr/>
          </p:nvSpPr>
          <p:spPr bwMode="gray">
            <a:xfrm>
              <a:off x="5821995" y="1066331"/>
              <a:ext cx="73509" cy="44795"/>
            </a:xfrm>
            <a:custGeom>
              <a:avLst/>
              <a:gdLst>
                <a:gd name="T0" fmla="*/ 0 w 102"/>
                <a:gd name="T1" fmla="*/ 3 h 53"/>
                <a:gd name="T2" fmla="*/ 0 w 102"/>
                <a:gd name="T3" fmla="*/ 4 h 53"/>
                <a:gd name="T4" fmla="*/ 2 w 102"/>
                <a:gd name="T5" fmla="*/ 3 h 53"/>
                <a:gd name="T6" fmla="*/ 1 w 102"/>
                <a:gd name="T7" fmla="*/ 0 h 53"/>
                <a:gd name="T8" fmla="*/ 0 w 102"/>
                <a:gd name="T9" fmla="*/ 3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2"/>
                <a:gd name="T16" fmla="*/ 0 h 53"/>
                <a:gd name="T17" fmla="*/ 102 w 102"/>
                <a:gd name="T18" fmla="*/ 53 h 5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2" h="53">
                  <a:moveTo>
                    <a:pt x="0" y="37"/>
                  </a:moveTo>
                  <a:lnTo>
                    <a:pt x="30" y="53"/>
                  </a:lnTo>
                  <a:lnTo>
                    <a:pt x="102" y="35"/>
                  </a:lnTo>
                  <a:lnTo>
                    <a:pt x="60" y="0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7" name="Freeform 139"/>
            <p:cNvSpPr>
              <a:spLocks noChangeAspect="1"/>
            </p:cNvSpPr>
            <p:nvPr/>
          </p:nvSpPr>
          <p:spPr bwMode="gray">
            <a:xfrm>
              <a:off x="6535648" y="1154262"/>
              <a:ext cx="67384" cy="31522"/>
            </a:xfrm>
            <a:custGeom>
              <a:avLst/>
              <a:gdLst>
                <a:gd name="T0" fmla="*/ 0 w 93"/>
                <a:gd name="T1" fmla="*/ 0 h 35"/>
                <a:gd name="T2" fmla="*/ 1 w 93"/>
                <a:gd name="T3" fmla="*/ 4 h 35"/>
                <a:gd name="T4" fmla="*/ 0 w 93"/>
                <a:gd name="T5" fmla="*/ 6 h 35"/>
                <a:gd name="T6" fmla="*/ 1 w 93"/>
                <a:gd name="T7" fmla="*/ 5 h 35"/>
                <a:gd name="T8" fmla="*/ 2 w 93"/>
                <a:gd name="T9" fmla="*/ 3 h 35"/>
                <a:gd name="T10" fmla="*/ 0 w 93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3"/>
                <a:gd name="T19" fmla="*/ 0 h 35"/>
                <a:gd name="T20" fmla="*/ 93 w 93"/>
                <a:gd name="T21" fmla="*/ 35 h 3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3" h="35">
                  <a:moveTo>
                    <a:pt x="0" y="0"/>
                  </a:moveTo>
                  <a:lnTo>
                    <a:pt x="42" y="27"/>
                  </a:lnTo>
                  <a:lnTo>
                    <a:pt x="28" y="35"/>
                  </a:lnTo>
                  <a:lnTo>
                    <a:pt x="65" y="33"/>
                  </a:lnTo>
                  <a:lnTo>
                    <a:pt x="93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8" name="Freeform 140"/>
            <p:cNvSpPr>
              <a:spLocks noChangeAspect="1"/>
            </p:cNvSpPr>
            <p:nvPr/>
          </p:nvSpPr>
          <p:spPr bwMode="gray">
            <a:xfrm>
              <a:off x="6546368" y="1076285"/>
              <a:ext cx="157739" cy="79635"/>
            </a:xfrm>
            <a:custGeom>
              <a:avLst/>
              <a:gdLst>
                <a:gd name="T0" fmla="*/ 0 w 220"/>
                <a:gd name="T1" fmla="*/ 5 h 95"/>
                <a:gd name="T2" fmla="*/ 1 w 220"/>
                <a:gd name="T3" fmla="*/ 2 h 95"/>
                <a:gd name="T4" fmla="*/ 3 w 220"/>
                <a:gd name="T5" fmla="*/ 0 h 95"/>
                <a:gd name="T6" fmla="*/ 4 w 220"/>
                <a:gd name="T7" fmla="*/ 3 h 95"/>
                <a:gd name="T8" fmla="*/ 3 w 220"/>
                <a:gd name="T9" fmla="*/ 3 h 95"/>
                <a:gd name="T10" fmla="*/ 4 w 220"/>
                <a:gd name="T11" fmla="*/ 5 h 95"/>
                <a:gd name="T12" fmla="*/ 1 w 220"/>
                <a:gd name="T13" fmla="*/ 6 h 95"/>
                <a:gd name="T14" fmla="*/ 0 w 220"/>
                <a:gd name="T15" fmla="*/ 5 h 9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0"/>
                <a:gd name="T25" fmla="*/ 0 h 95"/>
                <a:gd name="T26" fmla="*/ 220 w 220"/>
                <a:gd name="T27" fmla="*/ 95 h 9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0" h="95">
                  <a:moveTo>
                    <a:pt x="0" y="78"/>
                  </a:moveTo>
                  <a:lnTo>
                    <a:pt x="59" y="25"/>
                  </a:lnTo>
                  <a:lnTo>
                    <a:pt x="142" y="0"/>
                  </a:lnTo>
                  <a:lnTo>
                    <a:pt x="220" y="45"/>
                  </a:lnTo>
                  <a:lnTo>
                    <a:pt x="194" y="55"/>
                  </a:lnTo>
                  <a:lnTo>
                    <a:pt x="202" y="75"/>
                  </a:lnTo>
                  <a:lnTo>
                    <a:pt x="88" y="95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39" name="Freeform 141"/>
            <p:cNvSpPr>
              <a:spLocks noChangeAspect="1"/>
            </p:cNvSpPr>
            <p:nvPr/>
          </p:nvSpPr>
          <p:spPr bwMode="gray">
            <a:xfrm>
              <a:off x="6578529" y="1147625"/>
              <a:ext cx="179179" cy="97885"/>
            </a:xfrm>
            <a:custGeom>
              <a:avLst/>
              <a:gdLst>
                <a:gd name="T0" fmla="*/ 0 w 248"/>
                <a:gd name="T1" fmla="*/ 6 h 111"/>
                <a:gd name="T2" fmla="*/ 1 w 248"/>
                <a:gd name="T3" fmla="*/ 6 h 111"/>
                <a:gd name="T4" fmla="*/ 1 w 248"/>
                <a:gd name="T5" fmla="*/ 11 h 111"/>
                <a:gd name="T6" fmla="*/ 2 w 248"/>
                <a:gd name="T7" fmla="*/ 10 h 111"/>
                <a:gd name="T8" fmla="*/ 4 w 248"/>
                <a:gd name="T9" fmla="*/ 13 h 111"/>
                <a:gd name="T10" fmla="*/ 5 w 248"/>
                <a:gd name="T11" fmla="*/ 12 h 111"/>
                <a:gd name="T12" fmla="*/ 4 w 248"/>
                <a:gd name="T13" fmla="*/ 9 h 111"/>
                <a:gd name="T14" fmla="*/ 5 w 248"/>
                <a:gd name="T15" fmla="*/ 10 h 111"/>
                <a:gd name="T16" fmla="*/ 5 w 248"/>
                <a:gd name="T17" fmla="*/ 4 h 111"/>
                <a:gd name="T18" fmla="*/ 4 w 248"/>
                <a:gd name="T19" fmla="*/ 1 h 111"/>
                <a:gd name="T20" fmla="*/ 3 w 248"/>
                <a:gd name="T21" fmla="*/ 5 h 111"/>
                <a:gd name="T22" fmla="*/ 4 w 248"/>
                <a:gd name="T23" fmla="*/ 3 h 111"/>
                <a:gd name="T24" fmla="*/ 3 w 248"/>
                <a:gd name="T25" fmla="*/ 0 h 111"/>
                <a:gd name="T26" fmla="*/ 1 w 248"/>
                <a:gd name="T27" fmla="*/ 1 h 111"/>
                <a:gd name="T28" fmla="*/ 0 w 248"/>
                <a:gd name="T29" fmla="*/ 6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48"/>
                <a:gd name="T46" fmla="*/ 0 h 111"/>
                <a:gd name="T47" fmla="*/ 248 w 248"/>
                <a:gd name="T48" fmla="*/ 111 h 1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48" h="111">
                  <a:moveTo>
                    <a:pt x="0" y="49"/>
                  </a:moveTo>
                  <a:lnTo>
                    <a:pt x="45" y="54"/>
                  </a:lnTo>
                  <a:lnTo>
                    <a:pt x="77" y="93"/>
                  </a:lnTo>
                  <a:lnTo>
                    <a:pt x="101" y="80"/>
                  </a:lnTo>
                  <a:lnTo>
                    <a:pt x="204" y="111"/>
                  </a:lnTo>
                  <a:lnTo>
                    <a:pt x="238" y="99"/>
                  </a:lnTo>
                  <a:lnTo>
                    <a:pt x="213" y="69"/>
                  </a:lnTo>
                  <a:lnTo>
                    <a:pt x="232" y="77"/>
                  </a:lnTo>
                  <a:lnTo>
                    <a:pt x="248" y="33"/>
                  </a:lnTo>
                  <a:lnTo>
                    <a:pt x="194" y="10"/>
                  </a:lnTo>
                  <a:lnTo>
                    <a:pt x="142" y="41"/>
                  </a:lnTo>
                  <a:lnTo>
                    <a:pt x="184" y="24"/>
                  </a:lnTo>
                  <a:lnTo>
                    <a:pt x="159" y="0"/>
                  </a:lnTo>
                  <a:lnTo>
                    <a:pt x="72" y="8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0" name="Freeform 142"/>
            <p:cNvSpPr>
              <a:spLocks noChangeAspect="1"/>
            </p:cNvSpPr>
            <p:nvPr/>
          </p:nvSpPr>
          <p:spPr bwMode="gray">
            <a:xfrm>
              <a:off x="6745456" y="1199056"/>
              <a:ext cx="148550" cy="97885"/>
            </a:xfrm>
            <a:custGeom>
              <a:avLst/>
              <a:gdLst>
                <a:gd name="T0" fmla="*/ 0 w 208"/>
                <a:gd name="T1" fmla="*/ 9 h 113"/>
                <a:gd name="T2" fmla="*/ 0 w 208"/>
                <a:gd name="T3" fmla="*/ 10 h 113"/>
                <a:gd name="T4" fmla="*/ 3 w 208"/>
                <a:gd name="T5" fmla="*/ 8 h 113"/>
                <a:gd name="T6" fmla="*/ 3 w 208"/>
                <a:gd name="T7" fmla="*/ 5 h 113"/>
                <a:gd name="T8" fmla="*/ 3 w 208"/>
                <a:gd name="T9" fmla="*/ 2 h 113"/>
                <a:gd name="T10" fmla="*/ 2 w 208"/>
                <a:gd name="T11" fmla="*/ 3 h 113"/>
                <a:gd name="T12" fmla="*/ 2 w 208"/>
                <a:gd name="T13" fmla="*/ 1 h 113"/>
                <a:gd name="T14" fmla="*/ 2 w 208"/>
                <a:gd name="T15" fmla="*/ 0 h 113"/>
                <a:gd name="T16" fmla="*/ 0 w 208"/>
                <a:gd name="T17" fmla="*/ 8 h 113"/>
                <a:gd name="T18" fmla="*/ 0 w 208"/>
                <a:gd name="T19" fmla="*/ 9 h 1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8"/>
                <a:gd name="T31" fmla="*/ 0 h 113"/>
                <a:gd name="T32" fmla="*/ 208 w 208"/>
                <a:gd name="T33" fmla="*/ 113 h 1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8" h="113">
                  <a:moveTo>
                    <a:pt x="0" y="96"/>
                  </a:moveTo>
                  <a:lnTo>
                    <a:pt x="16" y="113"/>
                  </a:lnTo>
                  <a:lnTo>
                    <a:pt x="191" y="90"/>
                  </a:lnTo>
                  <a:lnTo>
                    <a:pt x="208" y="53"/>
                  </a:lnTo>
                  <a:lnTo>
                    <a:pt x="159" y="22"/>
                  </a:lnTo>
                  <a:lnTo>
                    <a:pt x="117" y="35"/>
                  </a:lnTo>
                  <a:lnTo>
                    <a:pt x="125" y="10"/>
                  </a:lnTo>
                  <a:lnTo>
                    <a:pt x="100" y="0"/>
                  </a:lnTo>
                  <a:lnTo>
                    <a:pt x="21" y="85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1" name="Freeform 143"/>
            <p:cNvSpPr>
              <a:spLocks noChangeAspect="1"/>
            </p:cNvSpPr>
            <p:nvPr/>
          </p:nvSpPr>
          <p:spPr bwMode="gray">
            <a:xfrm>
              <a:off x="7676574" y="1408098"/>
              <a:ext cx="165396" cy="92908"/>
            </a:xfrm>
            <a:custGeom>
              <a:avLst/>
              <a:gdLst>
                <a:gd name="T0" fmla="*/ 0 w 233"/>
                <a:gd name="T1" fmla="*/ 5 h 108"/>
                <a:gd name="T2" fmla="*/ 0 w 233"/>
                <a:gd name="T3" fmla="*/ 1 h 108"/>
                <a:gd name="T4" fmla="*/ 1 w 233"/>
                <a:gd name="T5" fmla="*/ 0 h 108"/>
                <a:gd name="T6" fmla="*/ 2 w 233"/>
                <a:gd name="T7" fmla="*/ 4 h 108"/>
                <a:gd name="T8" fmla="*/ 2 w 233"/>
                <a:gd name="T9" fmla="*/ 1 h 108"/>
                <a:gd name="T10" fmla="*/ 3 w 233"/>
                <a:gd name="T11" fmla="*/ 3 h 108"/>
                <a:gd name="T12" fmla="*/ 3 w 233"/>
                <a:gd name="T13" fmla="*/ 6 h 108"/>
                <a:gd name="T14" fmla="*/ 4 w 233"/>
                <a:gd name="T15" fmla="*/ 7 h 108"/>
                <a:gd name="T16" fmla="*/ 2 w 233"/>
                <a:gd name="T17" fmla="*/ 8 h 108"/>
                <a:gd name="T18" fmla="*/ 1 w 233"/>
                <a:gd name="T19" fmla="*/ 6 h 108"/>
                <a:gd name="T20" fmla="*/ 1 w 233"/>
                <a:gd name="T21" fmla="*/ 9 h 108"/>
                <a:gd name="T22" fmla="*/ 0 w 233"/>
                <a:gd name="T23" fmla="*/ 5 h 10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3"/>
                <a:gd name="T37" fmla="*/ 0 h 108"/>
                <a:gd name="T38" fmla="*/ 233 w 233"/>
                <a:gd name="T39" fmla="*/ 108 h 10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3" h="108">
                  <a:moveTo>
                    <a:pt x="0" y="59"/>
                  </a:moveTo>
                  <a:lnTo>
                    <a:pt x="48" y="5"/>
                  </a:lnTo>
                  <a:lnTo>
                    <a:pt x="81" y="0"/>
                  </a:lnTo>
                  <a:lnTo>
                    <a:pt x="134" y="42"/>
                  </a:lnTo>
                  <a:lnTo>
                    <a:pt x="142" y="11"/>
                  </a:lnTo>
                  <a:lnTo>
                    <a:pt x="201" y="36"/>
                  </a:lnTo>
                  <a:lnTo>
                    <a:pt x="195" y="75"/>
                  </a:lnTo>
                  <a:lnTo>
                    <a:pt x="233" y="89"/>
                  </a:lnTo>
                  <a:lnTo>
                    <a:pt x="110" y="96"/>
                  </a:lnTo>
                  <a:lnTo>
                    <a:pt x="103" y="78"/>
                  </a:lnTo>
                  <a:lnTo>
                    <a:pt x="83" y="108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2" name="Freeform 144"/>
            <p:cNvSpPr>
              <a:spLocks noChangeAspect="1"/>
            </p:cNvSpPr>
            <p:nvPr/>
          </p:nvSpPr>
          <p:spPr bwMode="gray">
            <a:xfrm>
              <a:off x="7791432" y="1409757"/>
              <a:ext cx="105670" cy="63044"/>
            </a:xfrm>
            <a:custGeom>
              <a:avLst/>
              <a:gdLst>
                <a:gd name="T0" fmla="*/ 0 w 143"/>
                <a:gd name="T1" fmla="*/ 0 h 72"/>
                <a:gd name="T2" fmla="*/ 1 w 143"/>
                <a:gd name="T3" fmla="*/ 3 h 72"/>
                <a:gd name="T4" fmla="*/ 1 w 143"/>
                <a:gd name="T5" fmla="*/ 6 h 72"/>
                <a:gd name="T6" fmla="*/ 1 w 143"/>
                <a:gd name="T7" fmla="*/ 8 h 72"/>
                <a:gd name="T8" fmla="*/ 3 w 143"/>
                <a:gd name="T9" fmla="*/ 8 h 72"/>
                <a:gd name="T10" fmla="*/ 4 w 143"/>
                <a:gd name="T11" fmla="*/ 5 h 72"/>
                <a:gd name="T12" fmla="*/ 0 w 143"/>
                <a:gd name="T13" fmla="*/ 0 h 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3"/>
                <a:gd name="T22" fmla="*/ 0 h 72"/>
                <a:gd name="T23" fmla="*/ 143 w 143"/>
                <a:gd name="T24" fmla="*/ 72 h 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3" h="72">
                  <a:moveTo>
                    <a:pt x="0" y="0"/>
                  </a:moveTo>
                  <a:lnTo>
                    <a:pt x="47" y="27"/>
                  </a:lnTo>
                  <a:lnTo>
                    <a:pt x="34" y="51"/>
                  </a:lnTo>
                  <a:lnTo>
                    <a:pt x="58" y="72"/>
                  </a:lnTo>
                  <a:lnTo>
                    <a:pt x="101" y="72"/>
                  </a:lnTo>
                  <a:lnTo>
                    <a:pt x="143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3" name="Freeform 145"/>
            <p:cNvSpPr>
              <a:spLocks noChangeAspect="1"/>
            </p:cNvSpPr>
            <p:nvPr/>
          </p:nvSpPr>
          <p:spPr bwMode="gray">
            <a:xfrm>
              <a:off x="7800621" y="2491467"/>
              <a:ext cx="79635" cy="325177"/>
            </a:xfrm>
            <a:custGeom>
              <a:avLst/>
              <a:gdLst>
                <a:gd name="T0" fmla="*/ 0 w 108"/>
                <a:gd name="T1" fmla="*/ 8 h 377"/>
                <a:gd name="T2" fmla="*/ 0 w 108"/>
                <a:gd name="T3" fmla="*/ 12 h 377"/>
                <a:gd name="T4" fmla="*/ 0 w 108"/>
                <a:gd name="T5" fmla="*/ 33 h 377"/>
                <a:gd name="T6" fmla="*/ 1 w 108"/>
                <a:gd name="T7" fmla="*/ 30 h 377"/>
                <a:gd name="T8" fmla="*/ 2 w 108"/>
                <a:gd name="T9" fmla="*/ 32 h 377"/>
                <a:gd name="T10" fmla="*/ 1 w 108"/>
                <a:gd name="T11" fmla="*/ 26 h 377"/>
                <a:gd name="T12" fmla="*/ 1 w 108"/>
                <a:gd name="T13" fmla="*/ 21 h 377"/>
                <a:gd name="T14" fmla="*/ 3 w 108"/>
                <a:gd name="T15" fmla="*/ 22 h 377"/>
                <a:gd name="T16" fmla="*/ 1 w 108"/>
                <a:gd name="T17" fmla="*/ 11 h 377"/>
                <a:gd name="T18" fmla="*/ 1 w 108"/>
                <a:gd name="T19" fmla="*/ 0 h 377"/>
                <a:gd name="T20" fmla="*/ 0 w 108"/>
                <a:gd name="T21" fmla="*/ 8 h 37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8"/>
                <a:gd name="T34" fmla="*/ 0 h 377"/>
                <a:gd name="T35" fmla="*/ 108 w 108"/>
                <a:gd name="T36" fmla="*/ 377 h 37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8" h="377">
                  <a:moveTo>
                    <a:pt x="0" y="96"/>
                  </a:moveTo>
                  <a:lnTo>
                    <a:pt x="19" y="142"/>
                  </a:lnTo>
                  <a:lnTo>
                    <a:pt x="19" y="377"/>
                  </a:lnTo>
                  <a:lnTo>
                    <a:pt x="37" y="349"/>
                  </a:lnTo>
                  <a:lnTo>
                    <a:pt x="65" y="367"/>
                  </a:lnTo>
                  <a:lnTo>
                    <a:pt x="33" y="302"/>
                  </a:lnTo>
                  <a:lnTo>
                    <a:pt x="50" y="237"/>
                  </a:lnTo>
                  <a:lnTo>
                    <a:pt x="108" y="257"/>
                  </a:lnTo>
                  <a:lnTo>
                    <a:pt x="53" y="132"/>
                  </a:lnTo>
                  <a:lnTo>
                    <a:pt x="37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4" name="Freeform 146"/>
            <p:cNvSpPr>
              <a:spLocks noChangeAspect="1"/>
            </p:cNvSpPr>
            <p:nvPr/>
          </p:nvSpPr>
          <p:spPr bwMode="gray">
            <a:xfrm>
              <a:off x="7912416" y="1446257"/>
              <a:ext cx="120984" cy="46454"/>
            </a:xfrm>
            <a:custGeom>
              <a:avLst/>
              <a:gdLst>
                <a:gd name="T0" fmla="*/ 0 w 162"/>
                <a:gd name="T1" fmla="*/ 0 h 55"/>
                <a:gd name="T2" fmla="*/ 1 w 162"/>
                <a:gd name="T3" fmla="*/ 3 h 55"/>
                <a:gd name="T4" fmla="*/ 3 w 162"/>
                <a:gd name="T5" fmla="*/ 4 h 55"/>
                <a:gd name="T6" fmla="*/ 5 w 162"/>
                <a:gd name="T7" fmla="*/ 3 h 55"/>
                <a:gd name="T8" fmla="*/ 0 w 162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2"/>
                <a:gd name="T16" fmla="*/ 0 h 55"/>
                <a:gd name="T17" fmla="*/ 162 w 162"/>
                <a:gd name="T18" fmla="*/ 55 h 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2" h="55">
                  <a:moveTo>
                    <a:pt x="0" y="0"/>
                  </a:moveTo>
                  <a:lnTo>
                    <a:pt x="28" y="38"/>
                  </a:lnTo>
                  <a:lnTo>
                    <a:pt x="103" y="55"/>
                  </a:lnTo>
                  <a:lnTo>
                    <a:pt x="162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5" name="Freeform 147"/>
            <p:cNvSpPr>
              <a:spLocks noChangeAspect="1"/>
            </p:cNvSpPr>
            <p:nvPr/>
          </p:nvSpPr>
          <p:spPr bwMode="gray">
            <a:xfrm>
              <a:off x="4030206" y="2902915"/>
              <a:ext cx="310883" cy="265450"/>
            </a:xfrm>
            <a:custGeom>
              <a:avLst/>
              <a:gdLst>
                <a:gd name="T0" fmla="*/ 0 w 426"/>
                <a:gd name="T1" fmla="*/ 3 h 307"/>
                <a:gd name="T2" fmla="*/ 0 w 426"/>
                <a:gd name="T3" fmla="*/ 7 h 307"/>
                <a:gd name="T4" fmla="*/ 2 w 426"/>
                <a:gd name="T5" fmla="*/ 8 h 307"/>
                <a:gd name="T6" fmla="*/ 1 w 426"/>
                <a:gd name="T7" fmla="*/ 15 h 307"/>
                <a:gd name="T8" fmla="*/ 1 w 426"/>
                <a:gd name="T9" fmla="*/ 24 h 307"/>
                <a:gd name="T10" fmla="*/ 3 w 426"/>
                <a:gd name="T11" fmla="*/ 28 h 307"/>
                <a:gd name="T12" fmla="*/ 6 w 426"/>
                <a:gd name="T13" fmla="*/ 25 h 307"/>
                <a:gd name="T14" fmla="*/ 8 w 426"/>
                <a:gd name="T15" fmla="*/ 18 h 307"/>
                <a:gd name="T16" fmla="*/ 7 w 426"/>
                <a:gd name="T17" fmla="*/ 16 h 307"/>
                <a:gd name="T18" fmla="*/ 8 w 426"/>
                <a:gd name="T19" fmla="*/ 11 h 307"/>
                <a:gd name="T20" fmla="*/ 10 w 426"/>
                <a:gd name="T21" fmla="*/ 7 h 307"/>
                <a:gd name="T22" fmla="*/ 10 w 426"/>
                <a:gd name="T23" fmla="*/ 5 h 307"/>
                <a:gd name="T24" fmla="*/ 9 w 426"/>
                <a:gd name="T25" fmla="*/ 4 h 307"/>
                <a:gd name="T26" fmla="*/ 9 w 426"/>
                <a:gd name="T27" fmla="*/ 4 h 307"/>
                <a:gd name="T28" fmla="*/ 6 w 426"/>
                <a:gd name="T29" fmla="*/ 1 h 307"/>
                <a:gd name="T30" fmla="*/ 1 w 426"/>
                <a:gd name="T31" fmla="*/ 0 h 307"/>
                <a:gd name="T32" fmla="*/ 0 w 426"/>
                <a:gd name="T33" fmla="*/ 3 h 30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6"/>
                <a:gd name="T52" fmla="*/ 0 h 307"/>
                <a:gd name="T53" fmla="*/ 426 w 426"/>
                <a:gd name="T54" fmla="*/ 307 h 30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6" h="307">
                  <a:moveTo>
                    <a:pt x="0" y="26"/>
                  </a:moveTo>
                  <a:lnTo>
                    <a:pt x="14" y="76"/>
                  </a:lnTo>
                  <a:lnTo>
                    <a:pt x="104" y="84"/>
                  </a:lnTo>
                  <a:lnTo>
                    <a:pt x="64" y="164"/>
                  </a:lnTo>
                  <a:lnTo>
                    <a:pt x="64" y="263"/>
                  </a:lnTo>
                  <a:lnTo>
                    <a:pt x="128" y="307"/>
                  </a:lnTo>
                  <a:lnTo>
                    <a:pt x="253" y="279"/>
                  </a:lnTo>
                  <a:lnTo>
                    <a:pt x="322" y="204"/>
                  </a:lnTo>
                  <a:lnTo>
                    <a:pt x="308" y="174"/>
                  </a:lnTo>
                  <a:lnTo>
                    <a:pt x="346" y="120"/>
                  </a:lnTo>
                  <a:lnTo>
                    <a:pt x="425" y="77"/>
                  </a:lnTo>
                  <a:lnTo>
                    <a:pt x="426" y="53"/>
                  </a:lnTo>
                  <a:lnTo>
                    <a:pt x="375" y="46"/>
                  </a:lnTo>
                  <a:lnTo>
                    <a:pt x="364" y="43"/>
                  </a:lnTo>
                  <a:lnTo>
                    <a:pt x="255" y="11"/>
                  </a:lnTo>
                  <a:lnTo>
                    <a:pt x="36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6" name="Freeform 148"/>
            <p:cNvSpPr>
              <a:spLocks noChangeAspect="1"/>
            </p:cNvSpPr>
            <p:nvPr/>
          </p:nvSpPr>
          <p:spPr bwMode="gray">
            <a:xfrm>
              <a:off x="2805051" y="4117350"/>
              <a:ext cx="104138" cy="119453"/>
            </a:xfrm>
            <a:custGeom>
              <a:avLst/>
              <a:gdLst>
                <a:gd name="T0" fmla="*/ 0 w 143"/>
                <a:gd name="T1" fmla="*/ 7 h 136"/>
                <a:gd name="T2" fmla="*/ 1 w 143"/>
                <a:gd name="T3" fmla="*/ 0 h 136"/>
                <a:gd name="T4" fmla="*/ 3 w 143"/>
                <a:gd name="T5" fmla="*/ 2 h 136"/>
                <a:gd name="T6" fmla="*/ 3 w 143"/>
                <a:gd name="T7" fmla="*/ 14 h 136"/>
                <a:gd name="T8" fmla="*/ 1 w 143"/>
                <a:gd name="T9" fmla="*/ 16 h 136"/>
                <a:gd name="T10" fmla="*/ 0 w 143"/>
                <a:gd name="T11" fmla="*/ 7 h 1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3"/>
                <a:gd name="T19" fmla="*/ 0 h 136"/>
                <a:gd name="T20" fmla="*/ 143 w 143"/>
                <a:gd name="T21" fmla="*/ 136 h 1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3" h="136">
                  <a:moveTo>
                    <a:pt x="0" y="63"/>
                  </a:moveTo>
                  <a:lnTo>
                    <a:pt x="39" y="0"/>
                  </a:lnTo>
                  <a:lnTo>
                    <a:pt x="143" y="12"/>
                  </a:lnTo>
                  <a:lnTo>
                    <a:pt x="128" y="126"/>
                  </a:lnTo>
                  <a:lnTo>
                    <a:pt x="56" y="13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7" name="Freeform 149"/>
            <p:cNvSpPr>
              <a:spLocks noChangeAspect="1"/>
            </p:cNvSpPr>
            <p:nvPr/>
          </p:nvSpPr>
          <p:spPr bwMode="gray">
            <a:xfrm>
              <a:off x="4527925" y="1154262"/>
              <a:ext cx="266471" cy="228951"/>
            </a:xfrm>
            <a:custGeom>
              <a:avLst/>
              <a:gdLst>
                <a:gd name="T0" fmla="*/ 0 w 367"/>
                <a:gd name="T1" fmla="*/ 4 h 262"/>
                <a:gd name="T2" fmla="*/ 0 w 367"/>
                <a:gd name="T3" fmla="*/ 7 h 262"/>
                <a:gd name="T4" fmla="*/ 1 w 367"/>
                <a:gd name="T5" fmla="*/ 7 h 262"/>
                <a:gd name="T6" fmla="*/ 0 w 367"/>
                <a:gd name="T7" fmla="*/ 8 h 262"/>
                <a:gd name="T8" fmla="*/ 1 w 367"/>
                <a:gd name="T9" fmla="*/ 9 h 262"/>
                <a:gd name="T10" fmla="*/ 0 w 367"/>
                <a:gd name="T11" fmla="*/ 9 h 262"/>
                <a:gd name="T12" fmla="*/ 2 w 367"/>
                <a:gd name="T13" fmla="*/ 13 h 262"/>
                <a:gd name="T14" fmla="*/ 1 w 367"/>
                <a:gd name="T15" fmla="*/ 13 h 262"/>
                <a:gd name="T16" fmla="*/ 2 w 367"/>
                <a:gd name="T17" fmla="*/ 15 h 262"/>
                <a:gd name="T18" fmla="*/ 3 w 367"/>
                <a:gd name="T19" fmla="*/ 14 h 262"/>
                <a:gd name="T20" fmla="*/ 3 w 367"/>
                <a:gd name="T21" fmla="*/ 12 h 262"/>
                <a:gd name="T22" fmla="*/ 4 w 367"/>
                <a:gd name="T23" fmla="*/ 10 h 262"/>
                <a:gd name="T24" fmla="*/ 4 w 367"/>
                <a:gd name="T25" fmla="*/ 14 h 262"/>
                <a:gd name="T26" fmla="*/ 4 w 367"/>
                <a:gd name="T27" fmla="*/ 12 h 262"/>
                <a:gd name="T28" fmla="*/ 4 w 367"/>
                <a:gd name="T29" fmla="*/ 14 h 262"/>
                <a:gd name="T30" fmla="*/ 5 w 367"/>
                <a:gd name="T31" fmla="*/ 14 h 262"/>
                <a:gd name="T32" fmla="*/ 2 w 367"/>
                <a:gd name="T33" fmla="*/ 17 h 262"/>
                <a:gd name="T34" fmla="*/ 2 w 367"/>
                <a:gd name="T35" fmla="*/ 19 h 262"/>
                <a:gd name="T36" fmla="*/ 5 w 367"/>
                <a:gd name="T37" fmla="*/ 17 h 262"/>
                <a:gd name="T38" fmla="*/ 3 w 367"/>
                <a:gd name="T39" fmla="*/ 19 h 262"/>
                <a:gd name="T40" fmla="*/ 4 w 367"/>
                <a:gd name="T41" fmla="*/ 21 h 262"/>
                <a:gd name="T42" fmla="*/ 2 w 367"/>
                <a:gd name="T43" fmla="*/ 22 h 262"/>
                <a:gd name="T44" fmla="*/ 5 w 367"/>
                <a:gd name="T45" fmla="*/ 28 h 262"/>
                <a:gd name="T46" fmla="*/ 6 w 367"/>
                <a:gd name="T47" fmla="*/ 14 h 262"/>
                <a:gd name="T48" fmla="*/ 8 w 367"/>
                <a:gd name="T49" fmla="*/ 10 h 262"/>
                <a:gd name="T50" fmla="*/ 6 w 367"/>
                <a:gd name="T51" fmla="*/ 7 h 262"/>
                <a:gd name="T52" fmla="*/ 6 w 367"/>
                <a:gd name="T53" fmla="*/ 4 h 262"/>
                <a:gd name="T54" fmla="*/ 5 w 367"/>
                <a:gd name="T55" fmla="*/ 6 h 262"/>
                <a:gd name="T56" fmla="*/ 6 w 367"/>
                <a:gd name="T57" fmla="*/ 3 h 262"/>
                <a:gd name="T58" fmla="*/ 4 w 367"/>
                <a:gd name="T59" fmla="*/ 0 h 262"/>
                <a:gd name="T60" fmla="*/ 4 w 367"/>
                <a:gd name="T61" fmla="*/ 3 h 262"/>
                <a:gd name="T62" fmla="*/ 4 w 367"/>
                <a:gd name="T63" fmla="*/ 9 h 262"/>
                <a:gd name="T64" fmla="*/ 3 w 367"/>
                <a:gd name="T65" fmla="*/ 3 h 262"/>
                <a:gd name="T66" fmla="*/ 2 w 367"/>
                <a:gd name="T67" fmla="*/ 4 h 262"/>
                <a:gd name="T68" fmla="*/ 3 w 367"/>
                <a:gd name="T69" fmla="*/ 7 h 262"/>
                <a:gd name="T70" fmla="*/ 1 w 367"/>
                <a:gd name="T71" fmla="*/ 4 h 262"/>
                <a:gd name="T72" fmla="*/ 2 w 367"/>
                <a:gd name="T73" fmla="*/ 3 h 262"/>
                <a:gd name="T74" fmla="*/ 0 w 367"/>
                <a:gd name="T75" fmla="*/ 4 h 26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67"/>
                <a:gd name="T115" fmla="*/ 0 h 262"/>
                <a:gd name="T116" fmla="*/ 367 w 367"/>
                <a:gd name="T117" fmla="*/ 262 h 26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67" h="262">
                  <a:moveTo>
                    <a:pt x="0" y="33"/>
                  </a:moveTo>
                  <a:lnTo>
                    <a:pt x="3" y="64"/>
                  </a:lnTo>
                  <a:lnTo>
                    <a:pt x="41" y="64"/>
                  </a:lnTo>
                  <a:lnTo>
                    <a:pt x="28" y="80"/>
                  </a:lnTo>
                  <a:lnTo>
                    <a:pt x="56" y="91"/>
                  </a:lnTo>
                  <a:lnTo>
                    <a:pt x="20" y="88"/>
                  </a:lnTo>
                  <a:lnTo>
                    <a:pt x="86" y="117"/>
                  </a:lnTo>
                  <a:lnTo>
                    <a:pt x="58" y="126"/>
                  </a:lnTo>
                  <a:lnTo>
                    <a:pt x="77" y="146"/>
                  </a:lnTo>
                  <a:lnTo>
                    <a:pt x="135" y="135"/>
                  </a:lnTo>
                  <a:lnTo>
                    <a:pt x="133" y="108"/>
                  </a:lnTo>
                  <a:lnTo>
                    <a:pt x="163" y="97"/>
                  </a:lnTo>
                  <a:lnTo>
                    <a:pt x="168" y="128"/>
                  </a:lnTo>
                  <a:lnTo>
                    <a:pt x="203" y="108"/>
                  </a:lnTo>
                  <a:lnTo>
                    <a:pt x="196" y="128"/>
                  </a:lnTo>
                  <a:lnTo>
                    <a:pt x="229" y="129"/>
                  </a:lnTo>
                  <a:lnTo>
                    <a:pt x="102" y="159"/>
                  </a:lnTo>
                  <a:lnTo>
                    <a:pt x="108" y="181"/>
                  </a:lnTo>
                  <a:lnTo>
                    <a:pt x="212" y="164"/>
                  </a:lnTo>
                  <a:lnTo>
                    <a:pt x="141" y="186"/>
                  </a:lnTo>
                  <a:lnTo>
                    <a:pt x="182" y="198"/>
                  </a:lnTo>
                  <a:lnTo>
                    <a:pt x="110" y="208"/>
                  </a:lnTo>
                  <a:lnTo>
                    <a:pt x="218" y="262"/>
                  </a:lnTo>
                  <a:lnTo>
                    <a:pt x="286" y="128"/>
                  </a:lnTo>
                  <a:lnTo>
                    <a:pt x="367" y="96"/>
                  </a:lnTo>
                  <a:lnTo>
                    <a:pt x="278" y="72"/>
                  </a:lnTo>
                  <a:lnTo>
                    <a:pt x="264" y="38"/>
                  </a:lnTo>
                  <a:lnTo>
                    <a:pt x="239" y="59"/>
                  </a:lnTo>
                  <a:lnTo>
                    <a:pt x="251" y="27"/>
                  </a:lnTo>
                  <a:lnTo>
                    <a:pt x="188" y="0"/>
                  </a:lnTo>
                  <a:lnTo>
                    <a:pt x="169" y="27"/>
                  </a:lnTo>
                  <a:lnTo>
                    <a:pt x="197" y="91"/>
                  </a:lnTo>
                  <a:lnTo>
                    <a:pt x="129" y="26"/>
                  </a:lnTo>
                  <a:lnTo>
                    <a:pt x="108" y="38"/>
                  </a:lnTo>
                  <a:lnTo>
                    <a:pt x="121" y="71"/>
                  </a:lnTo>
                  <a:lnTo>
                    <a:pt x="55" y="42"/>
                  </a:lnTo>
                  <a:lnTo>
                    <a:pt x="102" y="24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8" name="Freeform 150"/>
            <p:cNvSpPr>
              <a:spLocks noChangeAspect="1"/>
            </p:cNvSpPr>
            <p:nvPr/>
          </p:nvSpPr>
          <p:spPr bwMode="gray">
            <a:xfrm>
              <a:off x="4697915" y="1124398"/>
              <a:ext cx="240437" cy="96226"/>
            </a:xfrm>
            <a:custGeom>
              <a:avLst/>
              <a:gdLst>
                <a:gd name="T0" fmla="*/ 0 w 333"/>
                <a:gd name="T1" fmla="*/ 3 h 110"/>
                <a:gd name="T2" fmla="*/ 1 w 333"/>
                <a:gd name="T3" fmla="*/ 4 h 110"/>
                <a:gd name="T4" fmla="*/ 0 w 333"/>
                <a:gd name="T5" fmla="*/ 6 h 110"/>
                <a:gd name="T6" fmla="*/ 0 w 333"/>
                <a:gd name="T7" fmla="*/ 7 h 110"/>
                <a:gd name="T8" fmla="*/ 3 w 333"/>
                <a:gd name="T9" fmla="*/ 6 h 110"/>
                <a:gd name="T10" fmla="*/ 1 w 333"/>
                <a:gd name="T11" fmla="*/ 8 h 110"/>
                <a:gd name="T12" fmla="*/ 4 w 333"/>
                <a:gd name="T13" fmla="*/ 12 h 110"/>
                <a:gd name="T14" fmla="*/ 6 w 333"/>
                <a:gd name="T15" fmla="*/ 9 h 110"/>
                <a:gd name="T16" fmla="*/ 7 w 333"/>
                <a:gd name="T17" fmla="*/ 6 h 110"/>
                <a:gd name="T18" fmla="*/ 7 w 333"/>
                <a:gd name="T19" fmla="*/ 4 h 110"/>
                <a:gd name="T20" fmla="*/ 5 w 333"/>
                <a:gd name="T21" fmla="*/ 4 h 110"/>
                <a:gd name="T22" fmla="*/ 5 w 333"/>
                <a:gd name="T23" fmla="*/ 2 h 110"/>
                <a:gd name="T24" fmla="*/ 4 w 333"/>
                <a:gd name="T25" fmla="*/ 4 h 110"/>
                <a:gd name="T26" fmla="*/ 4 w 333"/>
                <a:gd name="T27" fmla="*/ 0 h 110"/>
                <a:gd name="T28" fmla="*/ 3 w 333"/>
                <a:gd name="T29" fmla="*/ 5 h 110"/>
                <a:gd name="T30" fmla="*/ 1 w 333"/>
                <a:gd name="T31" fmla="*/ 0 h 110"/>
                <a:gd name="T32" fmla="*/ 1 w 333"/>
                <a:gd name="T33" fmla="*/ 3 h 110"/>
                <a:gd name="T34" fmla="*/ 1 w 333"/>
                <a:gd name="T35" fmla="*/ 2 h 110"/>
                <a:gd name="T36" fmla="*/ 1 w 333"/>
                <a:gd name="T37" fmla="*/ 4 h 110"/>
                <a:gd name="T38" fmla="*/ 0 w 333"/>
                <a:gd name="T39" fmla="*/ 3 h 11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33"/>
                <a:gd name="T61" fmla="*/ 0 h 110"/>
                <a:gd name="T62" fmla="*/ 333 w 333"/>
                <a:gd name="T63" fmla="*/ 110 h 11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33" h="110">
                  <a:moveTo>
                    <a:pt x="0" y="29"/>
                  </a:moveTo>
                  <a:lnTo>
                    <a:pt x="49" y="38"/>
                  </a:lnTo>
                  <a:lnTo>
                    <a:pt x="17" y="51"/>
                  </a:lnTo>
                  <a:lnTo>
                    <a:pt x="30" y="61"/>
                  </a:lnTo>
                  <a:lnTo>
                    <a:pt x="153" y="60"/>
                  </a:lnTo>
                  <a:lnTo>
                    <a:pt x="76" y="76"/>
                  </a:lnTo>
                  <a:lnTo>
                    <a:pt x="198" y="110"/>
                  </a:lnTo>
                  <a:lnTo>
                    <a:pt x="280" y="89"/>
                  </a:lnTo>
                  <a:lnTo>
                    <a:pt x="333" y="51"/>
                  </a:lnTo>
                  <a:lnTo>
                    <a:pt x="318" y="33"/>
                  </a:lnTo>
                  <a:lnTo>
                    <a:pt x="240" y="34"/>
                  </a:lnTo>
                  <a:lnTo>
                    <a:pt x="253" y="13"/>
                  </a:lnTo>
                  <a:lnTo>
                    <a:pt x="189" y="34"/>
                  </a:lnTo>
                  <a:lnTo>
                    <a:pt x="180" y="0"/>
                  </a:lnTo>
                  <a:lnTo>
                    <a:pt x="164" y="44"/>
                  </a:lnTo>
                  <a:lnTo>
                    <a:pt x="76" y="0"/>
                  </a:lnTo>
                  <a:lnTo>
                    <a:pt x="78" y="27"/>
                  </a:lnTo>
                  <a:lnTo>
                    <a:pt x="52" y="13"/>
                  </a:lnTo>
                  <a:lnTo>
                    <a:pt x="63" y="3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49" name="Freeform 151"/>
            <p:cNvSpPr>
              <a:spLocks noChangeAspect="1"/>
            </p:cNvSpPr>
            <p:nvPr/>
          </p:nvSpPr>
          <p:spPr bwMode="gray">
            <a:xfrm>
              <a:off x="4780613" y="1278691"/>
              <a:ext cx="102607" cy="61385"/>
            </a:xfrm>
            <a:custGeom>
              <a:avLst/>
              <a:gdLst>
                <a:gd name="T0" fmla="*/ 0 w 143"/>
                <a:gd name="T1" fmla="*/ 5 h 71"/>
                <a:gd name="T2" fmla="*/ 0 w 143"/>
                <a:gd name="T3" fmla="*/ 2 h 71"/>
                <a:gd name="T4" fmla="*/ 1 w 143"/>
                <a:gd name="T5" fmla="*/ 0 h 71"/>
                <a:gd name="T6" fmla="*/ 1 w 143"/>
                <a:gd name="T7" fmla="*/ 2 h 71"/>
                <a:gd name="T8" fmla="*/ 3 w 143"/>
                <a:gd name="T9" fmla="*/ 3 h 71"/>
                <a:gd name="T10" fmla="*/ 1 w 143"/>
                <a:gd name="T11" fmla="*/ 6 h 71"/>
                <a:gd name="T12" fmla="*/ 1 w 143"/>
                <a:gd name="T13" fmla="*/ 5 h 71"/>
                <a:gd name="T14" fmla="*/ 0 w 143"/>
                <a:gd name="T15" fmla="*/ 5 h 7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3"/>
                <a:gd name="T25" fmla="*/ 0 h 71"/>
                <a:gd name="T26" fmla="*/ 143 w 143"/>
                <a:gd name="T27" fmla="*/ 71 h 7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3" h="71">
                  <a:moveTo>
                    <a:pt x="0" y="57"/>
                  </a:moveTo>
                  <a:lnTo>
                    <a:pt x="12" y="20"/>
                  </a:lnTo>
                  <a:lnTo>
                    <a:pt x="71" y="0"/>
                  </a:lnTo>
                  <a:lnTo>
                    <a:pt x="81" y="20"/>
                  </a:lnTo>
                  <a:lnTo>
                    <a:pt x="143" y="37"/>
                  </a:lnTo>
                  <a:lnTo>
                    <a:pt x="56" y="71"/>
                  </a:lnTo>
                  <a:lnTo>
                    <a:pt x="71" y="53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0" name="Freeform 152"/>
            <p:cNvSpPr>
              <a:spLocks noChangeAspect="1"/>
            </p:cNvSpPr>
            <p:nvPr/>
          </p:nvSpPr>
          <p:spPr bwMode="gray">
            <a:xfrm>
              <a:off x="4538645" y="1811251"/>
              <a:ext cx="323135" cy="633763"/>
            </a:xfrm>
            <a:custGeom>
              <a:avLst/>
              <a:gdLst>
                <a:gd name="T0" fmla="*/ 0 w 445"/>
                <a:gd name="T1" fmla="*/ 50 h 733"/>
                <a:gd name="T2" fmla="*/ 0 w 445"/>
                <a:gd name="T3" fmla="*/ 57 h 733"/>
                <a:gd name="T4" fmla="*/ 1 w 445"/>
                <a:gd name="T5" fmla="*/ 61 h 733"/>
                <a:gd name="T6" fmla="*/ 1 w 445"/>
                <a:gd name="T7" fmla="*/ 66 h 733"/>
                <a:gd name="T8" fmla="*/ 4 w 445"/>
                <a:gd name="T9" fmla="*/ 63 h 733"/>
                <a:gd name="T10" fmla="*/ 4 w 445"/>
                <a:gd name="T11" fmla="*/ 52 h 733"/>
                <a:gd name="T12" fmla="*/ 4 w 445"/>
                <a:gd name="T13" fmla="*/ 52 h 733"/>
                <a:gd name="T14" fmla="*/ 5 w 445"/>
                <a:gd name="T15" fmla="*/ 48 h 733"/>
                <a:gd name="T16" fmla="*/ 4 w 445"/>
                <a:gd name="T17" fmla="*/ 48 h 733"/>
                <a:gd name="T18" fmla="*/ 5 w 445"/>
                <a:gd name="T19" fmla="*/ 48 h 733"/>
                <a:gd name="T20" fmla="*/ 6 w 445"/>
                <a:gd name="T21" fmla="*/ 46 h 733"/>
                <a:gd name="T22" fmla="*/ 5 w 445"/>
                <a:gd name="T23" fmla="*/ 42 h 733"/>
                <a:gd name="T24" fmla="*/ 4 w 445"/>
                <a:gd name="T25" fmla="*/ 45 h 733"/>
                <a:gd name="T26" fmla="*/ 4 w 445"/>
                <a:gd name="T27" fmla="*/ 43 h 733"/>
                <a:gd name="T28" fmla="*/ 4 w 445"/>
                <a:gd name="T29" fmla="*/ 33 h 733"/>
                <a:gd name="T30" fmla="*/ 8 w 445"/>
                <a:gd name="T31" fmla="*/ 24 h 733"/>
                <a:gd name="T32" fmla="*/ 8 w 445"/>
                <a:gd name="T33" fmla="*/ 22 h 733"/>
                <a:gd name="T34" fmla="*/ 8 w 445"/>
                <a:gd name="T35" fmla="*/ 18 h 733"/>
                <a:gd name="T36" fmla="*/ 10 w 445"/>
                <a:gd name="T37" fmla="*/ 16 h 733"/>
                <a:gd name="T38" fmla="*/ 9 w 445"/>
                <a:gd name="T39" fmla="*/ 5 h 733"/>
                <a:gd name="T40" fmla="*/ 7 w 445"/>
                <a:gd name="T41" fmla="*/ 0 h 733"/>
                <a:gd name="T42" fmla="*/ 7 w 445"/>
                <a:gd name="T43" fmla="*/ 0 h 733"/>
                <a:gd name="T44" fmla="*/ 7 w 445"/>
                <a:gd name="T45" fmla="*/ 4 h 733"/>
                <a:gd name="T46" fmla="*/ 5 w 445"/>
                <a:gd name="T47" fmla="*/ 3 h 733"/>
                <a:gd name="T48" fmla="*/ 5 w 445"/>
                <a:gd name="T49" fmla="*/ 5 h 733"/>
                <a:gd name="T50" fmla="*/ 4 w 445"/>
                <a:gd name="T51" fmla="*/ 6 h 733"/>
                <a:gd name="T52" fmla="*/ 4 w 445"/>
                <a:gd name="T53" fmla="*/ 10 h 733"/>
                <a:gd name="T54" fmla="*/ 2 w 445"/>
                <a:gd name="T55" fmla="*/ 16 h 733"/>
                <a:gd name="T56" fmla="*/ 2 w 445"/>
                <a:gd name="T57" fmla="*/ 23 h 733"/>
                <a:gd name="T58" fmla="*/ 2 w 445"/>
                <a:gd name="T59" fmla="*/ 26 h 733"/>
                <a:gd name="T60" fmla="*/ 0 w 445"/>
                <a:gd name="T61" fmla="*/ 28 h 733"/>
                <a:gd name="T62" fmla="*/ 0 w 445"/>
                <a:gd name="T63" fmla="*/ 37 h 733"/>
                <a:gd name="T64" fmla="*/ 1 w 445"/>
                <a:gd name="T65" fmla="*/ 39 h 733"/>
                <a:gd name="T66" fmla="*/ 0 w 445"/>
                <a:gd name="T67" fmla="*/ 41 h 733"/>
                <a:gd name="T68" fmla="*/ 1 w 445"/>
                <a:gd name="T69" fmla="*/ 45 h 733"/>
                <a:gd name="T70" fmla="*/ 0 w 445"/>
                <a:gd name="T71" fmla="*/ 50 h 73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45"/>
                <a:gd name="T109" fmla="*/ 0 h 733"/>
                <a:gd name="T110" fmla="*/ 445 w 445"/>
                <a:gd name="T111" fmla="*/ 733 h 73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45" h="733">
                  <a:moveTo>
                    <a:pt x="0" y="551"/>
                  </a:moveTo>
                  <a:lnTo>
                    <a:pt x="18" y="635"/>
                  </a:lnTo>
                  <a:lnTo>
                    <a:pt x="57" y="675"/>
                  </a:lnTo>
                  <a:lnTo>
                    <a:pt x="52" y="733"/>
                  </a:lnTo>
                  <a:lnTo>
                    <a:pt x="161" y="694"/>
                  </a:lnTo>
                  <a:lnTo>
                    <a:pt x="189" y="578"/>
                  </a:lnTo>
                  <a:lnTo>
                    <a:pt x="169" y="574"/>
                  </a:lnTo>
                  <a:lnTo>
                    <a:pt x="249" y="538"/>
                  </a:lnTo>
                  <a:lnTo>
                    <a:pt x="172" y="530"/>
                  </a:lnTo>
                  <a:lnTo>
                    <a:pt x="231" y="538"/>
                  </a:lnTo>
                  <a:lnTo>
                    <a:pt x="263" y="508"/>
                  </a:lnTo>
                  <a:lnTo>
                    <a:pt x="215" y="471"/>
                  </a:lnTo>
                  <a:lnTo>
                    <a:pt x="171" y="497"/>
                  </a:lnTo>
                  <a:lnTo>
                    <a:pt x="207" y="474"/>
                  </a:lnTo>
                  <a:lnTo>
                    <a:pt x="208" y="368"/>
                  </a:lnTo>
                  <a:lnTo>
                    <a:pt x="358" y="268"/>
                  </a:lnTo>
                  <a:lnTo>
                    <a:pt x="347" y="246"/>
                  </a:lnTo>
                  <a:lnTo>
                    <a:pt x="373" y="196"/>
                  </a:lnTo>
                  <a:lnTo>
                    <a:pt x="445" y="180"/>
                  </a:lnTo>
                  <a:lnTo>
                    <a:pt x="427" y="61"/>
                  </a:lnTo>
                  <a:lnTo>
                    <a:pt x="325" y="0"/>
                  </a:lnTo>
                  <a:lnTo>
                    <a:pt x="309" y="0"/>
                  </a:lnTo>
                  <a:lnTo>
                    <a:pt x="308" y="39"/>
                  </a:lnTo>
                  <a:lnTo>
                    <a:pt x="244" y="32"/>
                  </a:lnTo>
                  <a:lnTo>
                    <a:pt x="231" y="61"/>
                  </a:lnTo>
                  <a:lnTo>
                    <a:pt x="188" y="70"/>
                  </a:lnTo>
                  <a:lnTo>
                    <a:pt x="176" y="118"/>
                  </a:lnTo>
                  <a:lnTo>
                    <a:pt x="115" y="175"/>
                  </a:lnTo>
                  <a:lnTo>
                    <a:pt x="87" y="253"/>
                  </a:lnTo>
                  <a:lnTo>
                    <a:pt x="100" y="285"/>
                  </a:lnTo>
                  <a:lnTo>
                    <a:pt x="35" y="310"/>
                  </a:lnTo>
                  <a:lnTo>
                    <a:pt x="33" y="412"/>
                  </a:lnTo>
                  <a:lnTo>
                    <a:pt x="51" y="433"/>
                  </a:lnTo>
                  <a:lnTo>
                    <a:pt x="33" y="454"/>
                  </a:lnTo>
                  <a:lnTo>
                    <a:pt x="40" y="499"/>
                  </a:lnTo>
                  <a:lnTo>
                    <a:pt x="0" y="551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1" name="Freeform 153"/>
            <p:cNvSpPr>
              <a:spLocks noChangeAspect="1"/>
            </p:cNvSpPr>
            <p:nvPr/>
          </p:nvSpPr>
          <p:spPr bwMode="gray">
            <a:xfrm>
              <a:off x="4405410" y="2751940"/>
              <a:ext cx="113327" cy="66363"/>
            </a:xfrm>
            <a:custGeom>
              <a:avLst/>
              <a:gdLst>
                <a:gd name="T0" fmla="*/ 0 w 153"/>
                <a:gd name="T1" fmla="*/ 5 h 76"/>
                <a:gd name="T2" fmla="*/ 1 w 153"/>
                <a:gd name="T3" fmla="*/ 8 h 76"/>
                <a:gd name="T4" fmla="*/ 2 w 153"/>
                <a:gd name="T5" fmla="*/ 6 h 76"/>
                <a:gd name="T6" fmla="*/ 3 w 153"/>
                <a:gd name="T7" fmla="*/ 8 h 76"/>
                <a:gd name="T8" fmla="*/ 4 w 153"/>
                <a:gd name="T9" fmla="*/ 4 h 76"/>
                <a:gd name="T10" fmla="*/ 3 w 153"/>
                <a:gd name="T11" fmla="*/ 3 h 76"/>
                <a:gd name="T12" fmla="*/ 3 w 153"/>
                <a:gd name="T13" fmla="*/ 2 h 76"/>
                <a:gd name="T14" fmla="*/ 3 w 153"/>
                <a:gd name="T15" fmla="*/ 1 h 76"/>
                <a:gd name="T16" fmla="*/ 1 w 153"/>
                <a:gd name="T17" fmla="*/ 0 h 76"/>
                <a:gd name="T18" fmla="*/ 0 w 153"/>
                <a:gd name="T19" fmla="*/ 5 h 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3"/>
                <a:gd name="T31" fmla="*/ 0 h 76"/>
                <a:gd name="T32" fmla="*/ 153 w 153"/>
                <a:gd name="T33" fmla="*/ 76 h 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3" h="76">
                  <a:moveTo>
                    <a:pt x="0" y="52"/>
                  </a:moveTo>
                  <a:lnTo>
                    <a:pt x="34" y="76"/>
                  </a:lnTo>
                  <a:lnTo>
                    <a:pt x="82" y="55"/>
                  </a:lnTo>
                  <a:lnTo>
                    <a:pt x="104" y="75"/>
                  </a:lnTo>
                  <a:lnTo>
                    <a:pt x="153" y="35"/>
                  </a:lnTo>
                  <a:lnTo>
                    <a:pt x="124" y="31"/>
                  </a:lnTo>
                  <a:lnTo>
                    <a:pt x="122" y="13"/>
                  </a:lnTo>
                  <a:lnTo>
                    <a:pt x="119" y="8"/>
                  </a:lnTo>
                  <a:lnTo>
                    <a:pt x="51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2" name="Freeform 154"/>
            <p:cNvSpPr>
              <a:spLocks noChangeAspect="1"/>
            </p:cNvSpPr>
            <p:nvPr/>
          </p:nvSpPr>
          <p:spPr bwMode="gray">
            <a:xfrm>
              <a:off x="5143566" y="3130207"/>
              <a:ext cx="177647" cy="162588"/>
            </a:xfrm>
            <a:custGeom>
              <a:avLst/>
              <a:gdLst>
                <a:gd name="T0" fmla="*/ 0 w 247"/>
                <a:gd name="T1" fmla="*/ 15 h 189"/>
                <a:gd name="T2" fmla="*/ 0 w 247"/>
                <a:gd name="T3" fmla="*/ 13 h 189"/>
                <a:gd name="T4" fmla="*/ 1 w 247"/>
                <a:gd name="T5" fmla="*/ 10 h 189"/>
                <a:gd name="T6" fmla="*/ 0 w 247"/>
                <a:gd name="T7" fmla="*/ 8 h 189"/>
                <a:gd name="T8" fmla="*/ 0 w 247"/>
                <a:gd name="T9" fmla="*/ 4 h 189"/>
                <a:gd name="T10" fmla="*/ 1 w 247"/>
                <a:gd name="T11" fmla="*/ 1 h 189"/>
                <a:gd name="T12" fmla="*/ 5 w 247"/>
                <a:gd name="T13" fmla="*/ 0 h 189"/>
                <a:gd name="T14" fmla="*/ 4 w 247"/>
                <a:gd name="T15" fmla="*/ 3 h 189"/>
                <a:gd name="T16" fmla="*/ 4 w 247"/>
                <a:gd name="T17" fmla="*/ 9 h 189"/>
                <a:gd name="T18" fmla="*/ 2 w 247"/>
                <a:gd name="T19" fmla="*/ 12 h 189"/>
                <a:gd name="T20" fmla="*/ 0 w 247"/>
                <a:gd name="T21" fmla="*/ 16 h 189"/>
                <a:gd name="T22" fmla="*/ 0 w 247"/>
                <a:gd name="T23" fmla="*/ 15 h 18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47"/>
                <a:gd name="T37" fmla="*/ 0 h 189"/>
                <a:gd name="T38" fmla="*/ 247 w 247"/>
                <a:gd name="T39" fmla="*/ 189 h 18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47" h="189">
                  <a:moveTo>
                    <a:pt x="0" y="175"/>
                  </a:moveTo>
                  <a:lnTo>
                    <a:pt x="5" y="155"/>
                  </a:lnTo>
                  <a:lnTo>
                    <a:pt x="41" y="115"/>
                  </a:lnTo>
                  <a:lnTo>
                    <a:pt x="20" y="97"/>
                  </a:lnTo>
                  <a:lnTo>
                    <a:pt x="19" y="48"/>
                  </a:lnTo>
                  <a:lnTo>
                    <a:pt x="41" y="10"/>
                  </a:lnTo>
                  <a:lnTo>
                    <a:pt x="247" y="0"/>
                  </a:lnTo>
                  <a:lnTo>
                    <a:pt x="209" y="28"/>
                  </a:lnTo>
                  <a:lnTo>
                    <a:pt x="196" y="104"/>
                  </a:lnTo>
                  <a:lnTo>
                    <a:pt x="112" y="149"/>
                  </a:lnTo>
                  <a:lnTo>
                    <a:pt x="37" y="189"/>
                  </a:lnTo>
                  <a:lnTo>
                    <a:pt x="0" y="17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3" name="Freeform 155"/>
            <p:cNvSpPr>
              <a:spLocks noChangeAspect="1"/>
            </p:cNvSpPr>
            <p:nvPr/>
          </p:nvSpPr>
          <p:spPr bwMode="gray">
            <a:xfrm>
              <a:off x="6696450" y="3666085"/>
              <a:ext cx="199088" cy="457902"/>
            </a:xfrm>
            <a:custGeom>
              <a:avLst/>
              <a:gdLst>
                <a:gd name="T0" fmla="*/ 0 w 275"/>
                <a:gd name="T1" fmla="*/ 8 h 529"/>
                <a:gd name="T2" fmla="*/ 0 w 275"/>
                <a:gd name="T3" fmla="*/ 4 h 529"/>
                <a:gd name="T4" fmla="*/ 2 w 275"/>
                <a:gd name="T5" fmla="*/ 0 h 529"/>
                <a:gd name="T6" fmla="*/ 3 w 275"/>
                <a:gd name="T7" fmla="*/ 4 h 529"/>
                <a:gd name="T8" fmla="*/ 2 w 275"/>
                <a:gd name="T9" fmla="*/ 10 h 529"/>
                <a:gd name="T10" fmla="*/ 4 w 275"/>
                <a:gd name="T11" fmla="*/ 7 h 529"/>
                <a:gd name="T12" fmla="*/ 5 w 275"/>
                <a:gd name="T13" fmla="*/ 10 h 529"/>
                <a:gd name="T14" fmla="*/ 6 w 275"/>
                <a:gd name="T15" fmla="*/ 17 h 529"/>
                <a:gd name="T16" fmla="*/ 6 w 275"/>
                <a:gd name="T17" fmla="*/ 21 h 529"/>
                <a:gd name="T18" fmla="*/ 4 w 275"/>
                <a:gd name="T19" fmla="*/ 20 h 529"/>
                <a:gd name="T20" fmla="*/ 4 w 275"/>
                <a:gd name="T21" fmla="*/ 22 h 529"/>
                <a:gd name="T22" fmla="*/ 4 w 275"/>
                <a:gd name="T23" fmla="*/ 29 h 529"/>
                <a:gd name="T24" fmla="*/ 2 w 275"/>
                <a:gd name="T25" fmla="*/ 23 h 529"/>
                <a:gd name="T26" fmla="*/ 1 w 275"/>
                <a:gd name="T27" fmla="*/ 34 h 529"/>
                <a:gd name="T28" fmla="*/ 2 w 275"/>
                <a:gd name="T29" fmla="*/ 43 h 529"/>
                <a:gd name="T30" fmla="*/ 3 w 275"/>
                <a:gd name="T31" fmla="*/ 47 h 529"/>
                <a:gd name="T32" fmla="*/ 3 w 275"/>
                <a:gd name="T33" fmla="*/ 49 h 529"/>
                <a:gd name="T34" fmla="*/ 2 w 275"/>
                <a:gd name="T35" fmla="*/ 46 h 529"/>
                <a:gd name="T36" fmla="*/ 2 w 275"/>
                <a:gd name="T37" fmla="*/ 46 h 529"/>
                <a:gd name="T38" fmla="*/ 0 w 275"/>
                <a:gd name="T39" fmla="*/ 40 h 529"/>
                <a:gd name="T40" fmla="*/ 1 w 275"/>
                <a:gd name="T41" fmla="*/ 34 h 529"/>
                <a:gd name="T42" fmla="*/ 1 w 275"/>
                <a:gd name="T43" fmla="*/ 28 h 529"/>
                <a:gd name="T44" fmla="*/ 0 w 275"/>
                <a:gd name="T45" fmla="*/ 19 h 529"/>
                <a:gd name="T46" fmla="*/ 1 w 275"/>
                <a:gd name="T47" fmla="*/ 15 h 529"/>
                <a:gd name="T48" fmla="*/ 0 w 275"/>
                <a:gd name="T49" fmla="*/ 8 h 52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5"/>
                <a:gd name="T76" fmla="*/ 0 h 529"/>
                <a:gd name="T77" fmla="*/ 275 w 275"/>
                <a:gd name="T78" fmla="*/ 529 h 52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5" h="529">
                  <a:moveTo>
                    <a:pt x="0" y="84"/>
                  </a:moveTo>
                  <a:lnTo>
                    <a:pt x="19" y="43"/>
                  </a:lnTo>
                  <a:lnTo>
                    <a:pt x="93" y="0"/>
                  </a:lnTo>
                  <a:lnTo>
                    <a:pt x="126" y="41"/>
                  </a:lnTo>
                  <a:lnTo>
                    <a:pt x="116" y="112"/>
                  </a:lnTo>
                  <a:lnTo>
                    <a:pt x="204" y="80"/>
                  </a:lnTo>
                  <a:lnTo>
                    <a:pt x="242" y="112"/>
                  </a:lnTo>
                  <a:lnTo>
                    <a:pt x="275" y="182"/>
                  </a:lnTo>
                  <a:lnTo>
                    <a:pt x="263" y="226"/>
                  </a:lnTo>
                  <a:lnTo>
                    <a:pt x="196" y="223"/>
                  </a:lnTo>
                  <a:lnTo>
                    <a:pt x="172" y="244"/>
                  </a:lnTo>
                  <a:lnTo>
                    <a:pt x="185" y="318"/>
                  </a:lnTo>
                  <a:lnTo>
                    <a:pt x="95" y="254"/>
                  </a:lnTo>
                  <a:lnTo>
                    <a:pt x="57" y="368"/>
                  </a:lnTo>
                  <a:lnTo>
                    <a:pt x="100" y="472"/>
                  </a:lnTo>
                  <a:lnTo>
                    <a:pt x="161" y="510"/>
                  </a:lnTo>
                  <a:lnTo>
                    <a:pt x="129" y="529"/>
                  </a:lnTo>
                  <a:lnTo>
                    <a:pt x="121" y="499"/>
                  </a:lnTo>
                  <a:lnTo>
                    <a:pt x="95" y="499"/>
                  </a:lnTo>
                  <a:lnTo>
                    <a:pt x="26" y="440"/>
                  </a:lnTo>
                  <a:lnTo>
                    <a:pt x="38" y="373"/>
                  </a:lnTo>
                  <a:lnTo>
                    <a:pt x="73" y="310"/>
                  </a:lnTo>
                  <a:lnTo>
                    <a:pt x="24" y="208"/>
                  </a:lnTo>
                  <a:lnTo>
                    <a:pt x="40" y="16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4" name="Freeform 156"/>
            <p:cNvSpPr>
              <a:spLocks noChangeAspect="1"/>
            </p:cNvSpPr>
            <p:nvPr/>
          </p:nvSpPr>
          <p:spPr bwMode="gray">
            <a:xfrm>
              <a:off x="2708570" y="3973012"/>
              <a:ext cx="24503" cy="19909"/>
            </a:xfrm>
            <a:custGeom>
              <a:avLst/>
              <a:gdLst>
                <a:gd name="T0" fmla="*/ 0 w 34"/>
                <a:gd name="T1" fmla="*/ 2 h 24"/>
                <a:gd name="T2" fmla="*/ 0 w 34"/>
                <a:gd name="T3" fmla="*/ 2 h 24"/>
                <a:gd name="T4" fmla="*/ 0 w 34"/>
                <a:gd name="T5" fmla="*/ 0 h 24"/>
                <a:gd name="T6" fmla="*/ 0 w 34"/>
                <a:gd name="T7" fmla="*/ 2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"/>
                <a:gd name="T13" fmla="*/ 0 h 24"/>
                <a:gd name="T14" fmla="*/ 34 w 3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" h="24">
                  <a:moveTo>
                    <a:pt x="0" y="24"/>
                  </a:moveTo>
                  <a:lnTo>
                    <a:pt x="33" y="21"/>
                  </a:lnTo>
                  <a:lnTo>
                    <a:pt x="34" y="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5" name="Freeform 157"/>
            <p:cNvSpPr>
              <a:spLocks noChangeAspect="1"/>
            </p:cNvSpPr>
            <p:nvPr/>
          </p:nvSpPr>
          <p:spPr bwMode="gray">
            <a:xfrm>
              <a:off x="5534084" y="3496860"/>
              <a:ext cx="130173" cy="106180"/>
            </a:xfrm>
            <a:custGeom>
              <a:avLst/>
              <a:gdLst>
                <a:gd name="T0" fmla="*/ 0 w 181"/>
                <a:gd name="T1" fmla="*/ 4 h 124"/>
                <a:gd name="T2" fmla="*/ 0 w 181"/>
                <a:gd name="T3" fmla="*/ 4 h 124"/>
                <a:gd name="T4" fmla="*/ 0 w 181"/>
                <a:gd name="T5" fmla="*/ 6 h 124"/>
                <a:gd name="T6" fmla="*/ 2 w 181"/>
                <a:gd name="T7" fmla="*/ 6 h 124"/>
                <a:gd name="T8" fmla="*/ 3 w 181"/>
                <a:gd name="T9" fmla="*/ 0 h 124"/>
                <a:gd name="T10" fmla="*/ 3 w 181"/>
                <a:gd name="T11" fmla="*/ 4 h 124"/>
                <a:gd name="T12" fmla="*/ 3 w 181"/>
                <a:gd name="T13" fmla="*/ 4 h 124"/>
                <a:gd name="T14" fmla="*/ 3 w 181"/>
                <a:gd name="T15" fmla="*/ 6 h 124"/>
                <a:gd name="T16" fmla="*/ 3 w 181"/>
                <a:gd name="T17" fmla="*/ 10 h 124"/>
                <a:gd name="T18" fmla="*/ 0 w 181"/>
                <a:gd name="T19" fmla="*/ 9 h 124"/>
                <a:gd name="T20" fmla="*/ 0 w 181"/>
                <a:gd name="T21" fmla="*/ 4 h 1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1"/>
                <a:gd name="T34" fmla="*/ 0 h 124"/>
                <a:gd name="T35" fmla="*/ 181 w 181"/>
                <a:gd name="T36" fmla="*/ 124 h 1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1" h="124">
                  <a:moveTo>
                    <a:pt x="0" y="56"/>
                  </a:moveTo>
                  <a:lnTo>
                    <a:pt x="10" y="54"/>
                  </a:lnTo>
                  <a:lnTo>
                    <a:pt x="25" y="73"/>
                  </a:lnTo>
                  <a:lnTo>
                    <a:pt x="102" y="72"/>
                  </a:lnTo>
                  <a:lnTo>
                    <a:pt x="172" y="0"/>
                  </a:lnTo>
                  <a:lnTo>
                    <a:pt x="181" y="44"/>
                  </a:lnTo>
                  <a:lnTo>
                    <a:pt x="161" y="45"/>
                  </a:lnTo>
                  <a:lnTo>
                    <a:pt x="172" y="72"/>
                  </a:lnTo>
                  <a:lnTo>
                    <a:pt x="143" y="124"/>
                  </a:lnTo>
                  <a:lnTo>
                    <a:pt x="33" y="111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6" name="Freeform 158"/>
            <p:cNvSpPr>
              <a:spLocks noChangeAspect="1"/>
            </p:cNvSpPr>
            <p:nvPr/>
          </p:nvSpPr>
          <p:spPr bwMode="gray">
            <a:xfrm>
              <a:off x="4442164" y="3135184"/>
              <a:ext cx="101075" cy="225633"/>
            </a:xfrm>
            <a:custGeom>
              <a:avLst/>
              <a:gdLst>
                <a:gd name="T0" fmla="*/ 0 w 137"/>
                <a:gd name="T1" fmla="*/ 11 h 261"/>
                <a:gd name="T2" fmla="*/ 0 w 137"/>
                <a:gd name="T3" fmla="*/ 9 h 261"/>
                <a:gd name="T4" fmla="*/ 1 w 137"/>
                <a:gd name="T5" fmla="*/ 1 h 261"/>
                <a:gd name="T6" fmla="*/ 3 w 137"/>
                <a:gd name="T7" fmla="*/ 0 h 261"/>
                <a:gd name="T8" fmla="*/ 3 w 137"/>
                <a:gd name="T9" fmla="*/ 3 h 261"/>
                <a:gd name="T10" fmla="*/ 4 w 137"/>
                <a:gd name="T11" fmla="*/ 7 h 261"/>
                <a:gd name="T12" fmla="*/ 2 w 137"/>
                <a:gd name="T13" fmla="*/ 11 h 261"/>
                <a:gd name="T14" fmla="*/ 4 w 137"/>
                <a:gd name="T15" fmla="*/ 14 h 261"/>
                <a:gd name="T16" fmla="*/ 2 w 137"/>
                <a:gd name="T17" fmla="*/ 23 h 261"/>
                <a:gd name="T18" fmla="*/ 1 w 137"/>
                <a:gd name="T19" fmla="*/ 17 h 261"/>
                <a:gd name="T20" fmla="*/ 0 w 137"/>
                <a:gd name="T21" fmla="*/ 11 h 2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7"/>
                <a:gd name="T34" fmla="*/ 0 h 261"/>
                <a:gd name="T35" fmla="*/ 137 w 137"/>
                <a:gd name="T36" fmla="*/ 261 h 26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7" h="261">
                  <a:moveTo>
                    <a:pt x="0" y="122"/>
                  </a:moveTo>
                  <a:lnTo>
                    <a:pt x="30" y="98"/>
                  </a:lnTo>
                  <a:lnTo>
                    <a:pt x="45" y="3"/>
                  </a:lnTo>
                  <a:lnTo>
                    <a:pt x="128" y="0"/>
                  </a:lnTo>
                  <a:lnTo>
                    <a:pt x="107" y="32"/>
                  </a:lnTo>
                  <a:lnTo>
                    <a:pt x="132" y="72"/>
                  </a:lnTo>
                  <a:lnTo>
                    <a:pt x="83" y="122"/>
                  </a:lnTo>
                  <a:lnTo>
                    <a:pt x="137" y="153"/>
                  </a:lnTo>
                  <a:lnTo>
                    <a:pt x="68" y="261"/>
                  </a:lnTo>
                  <a:lnTo>
                    <a:pt x="58" y="192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7" name="Freeform 159"/>
            <p:cNvSpPr>
              <a:spLocks noChangeAspect="1"/>
            </p:cNvSpPr>
            <p:nvPr/>
          </p:nvSpPr>
          <p:spPr bwMode="gray">
            <a:xfrm>
              <a:off x="4913849" y="2964301"/>
              <a:ext cx="67384" cy="64704"/>
            </a:xfrm>
            <a:custGeom>
              <a:avLst/>
              <a:gdLst>
                <a:gd name="T0" fmla="*/ 0 w 97"/>
                <a:gd name="T1" fmla="*/ 6 h 73"/>
                <a:gd name="T2" fmla="*/ 0 w 97"/>
                <a:gd name="T3" fmla="*/ 1 h 73"/>
                <a:gd name="T4" fmla="*/ 1 w 97"/>
                <a:gd name="T5" fmla="*/ 0 h 73"/>
                <a:gd name="T6" fmla="*/ 1 w 97"/>
                <a:gd name="T7" fmla="*/ 5 h 73"/>
                <a:gd name="T8" fmla="*/ 0 w 97"/>
                <a:gd name="T9" fmla="*/ 5 h 73"/>
                <a:gd name="T10" fmla="*/ 0 w 97"/>
                <a:gd name="T11" fmla="*/ 10 h 73"/>
                <a:gd name="T12" fmla="*/ 0 w 97"/>
                <a:gd name="T13" fmla="*/ 7 h 73"/>
                <a:gd name="T14" fmla="*/ 0 w 97"/>
                <a:gd name="T15" fmla="*/ 6 h 7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7"/>
                <a:gd name="T25" fmla="*/ 0 h 73"/>
                <a:gd name="T26" fmla="*/ 97 w 97"/>
                <a:gd name="T27" fmla="*/ 73 h 7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7" h="73">
                  <a:moveTo>
                    <a:pt x="0" y="49"/>
                  </a:moveTo>
                  <a:lnTo>
                    <a:pt x="11" y="4"/>
                  </a:lnTo>
                  <a:lnTo>
                    <a:pt x="66" y="0"/>
                  </a:lnTo>
                  <a:lnTo>
                    <a:pt x="97" y="37"/>
                  </a:lnTo>
                  <a:lnTo>
                    <a:pt x="53" y="38"/>
                  </a:lnTo>
                  <a:lnTo>
                    <a:pt x="4" y="73"/>
                  </a:lnTo>
                  <a:lnTo>
                    <a:pt x="26" y="51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8" name="Freeform 160"/>
            <p:cNvSpPr>
              <a:spLocks noChangeAspect="1"/>
            </p:cNvSpPr>
            <p:nvPr/>
          </p:nvSpPr>
          <p:spPr bwMode="gray">
            <a:xfrm>
              <a:off x="4919975" y="2959323"/>
              <a:ext cx="459433" cy="210701"/>
            </a:xfrm>
            <a:custGeom>
              <a:avLst/>
              <a:gdLst>
                <a:gd name="T0" fmla="*/ 0 w 638"/>
                <a:gd name="T1" fmla="*/ 6 h 247"/>
                <a:gd name="T2" fmla="*/ 0 w 638"/>
                <a:gd name="T3" fmla="*/ 11 h 247"/>
                <a:gd name="T4" fmla="*/ 0 w 638"/>
                <a:gd name="T5" fmla="*/ 11 h 247"/>
                <a:gd name="T6" fmla="*/ 0 w 638"/>
                <a:gd name="T7" fmla="*/ 12 h 247"/>
                <a:gd name="T8" fmla="*/ 0 w 638"/>
                <a:gd name="T9" fmla="*/ 15 h 247"/>
                <a:gd name="T10" fmla="*/ 1 w 638"/>
                <a:gd name="T11" fmla="*/ 15 h 247"/>
                <a:gd name="T12" fmla="*/ 0 w 638"/>
                <a:gd name="T13" fmla="*/ 16 h 247"/>
                <a:gd name="T14" fmla="*/ 1 w 638"/>
                <a:gd name="T15" fmla="*/ 15 h 247"/>
                <a:gd name="T16" fmla="*/ 2 w 638"/>
                <a:gd name="T17" fmla="*/ 17 h 247"/>
                <a:gd name="T18" fmla="*/ 3 w 638"/>
                <a:gd name="T19" fmla="*/ 15 h 247"/>
                <a:gd name="T20" fmla="*/ 4 w 638"/>
                <a:gd name="T21" fmla="*/ 18 h 247"/>
                <a:gd name="T22" fmla="*/ 7 w 638"/>
                <a:gd name="T23" fmla="*/ 15 h 247"/>
                <a:gd name="T24" fmla="*/ 7 w 638"/>
                <a:gd name="T25" fmla="*/ 18 h 247"/>
                <a:gd name="T26" fmla="*/ 7 w 638"/>
                <a:gd name="T27" fmla="*/ 15 h 247"/>
                <a:gd name="T28" fmla="*/ 11 w 638"/>
                <a:gd name="T29" fmla="*/ 15 h 247"/>
                <a:gd name="T30" fmla="*/ 12 w 638"/>
                <a:gd name="T31" fmla="*/ 14 h 247"/>
                <a:gd name="T32" fmla="*/ 12 w 638"/>
                <a:gd name="T33" fmla="*/ 8 h 247"/>
                <a:gd name="T34" fmla="*/ 12 w 638"/>
                <a:gd name="T35" fmla="*/ 7 h 247"/>
                <a:gd name="T36" fmla="*/ 11 w 638"/>
                <a:gd name="T37" fmla="*/ 2 h 247"/>
                <a:gd name="T38" fmla="*/ 10 w 638"/>
                <a:gd name="T39" fmla="*/ 2 h 247"/>
                <a:gd name="T40" fmla="*/ 8 w 638"/>
                <a:gd name="T41" fmla="*/ 4 h 247"/>
                <a:gd name="T42" fmla="*/ 6 w 638"/>
                <a:gd name="T43" fmla="*/ 0 h 247"/>
                <a:gd name="T44" fmla="*/ 5 w 638"/>
                <a:gd name="T45" fmla="*/ 1 h 247"/>
                <a:gd name="T46" fmla="*/ 3 w 638"/>
                <a:gd name="T47" fmla="*/ 3 h 247"/>
                <a:gd name="T48" fmla="*/ 2 w 638"/>
                <a:gd name="T49" fmla="*/ 3 h 247"/>
                <a:gd name="T50" fmla="*/ 2 w 638"/>
                <a:gd name="T51" fmla="*/ 4 h 247"/>
                <a:gd name="T52" fmla="*/ 0 w 638"/>
                <a:gd name="T53" fmla="*/ 6 h 24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38"/>
                <a:gd name="T82" fmla="*/ 0 h 247"/>
                <a:gd name="T83" fmla="*/ 638 w 638"/>
                <a:gd name="T84" fmla="*/ 247 h 24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38" h="247">
                  <a:moveTo>
                    <a:pt x="0" y="83"/>
                  </a:moveTo>
                  <a:lnTo>
                    <a:pt x="27" y="148"/>
                  </a:lnTo>
                  <a:lnTo>
                    <a:pt x="1" y="154"/>
                  </a:lnTo>
                  <a:lnTo>
                    <a:pt x="27" y="165"/>
                  </a:lnTo>
                  <a:lnTo>
                    <a:pt x="37" y="204"/>
                  </a:lnTo>
                  <a:lnTo>
                    <a:pt x="73" y="200"/>
                  </a:lnTo>
                  <a:lnTo>
                    <a:pt x="37" y="217"/>
                  </a:lnTo>
                  <a:lnTo>
                    <a:pt x="78" y="210"/>
                  </a:lnTo>
                  <a:lnTo>
                    <a:pt x="122" y="236"/>
                  </a:lnTo>
                  <a:lnTo>
                    <a:pt x="163" y="209"/>
                  </a:lnTo>
                  <a:lnTo>
                    <a:pt x="226" y="244"/>
                  </a:lnTo>
                  <a:lnTo>
                    <a:pt x="336" y="209"/>
                  </a:lnTo>
                  <a:lnTo>
                    <a:pt x="333" y="247"/>
                  </a:lnTo>
                  <a:lnTo>
                    <a:pt x="355" y="209"/>
                  </a:lnTo>
                  <a:lnTo>
                    <a:pt x="561" y="199"/>
                  </a:lnTo>
                  <a:lnTo>
                    <a:pt x="638" y="195"/>
                  </a:lnTo>
                  <a:lnTo>
                    <a:pt x="616" y="108"/>
                  </a:lnTo>
                  <a:lnTo>
                    <a:pt x="634" y="90"/>
                  </a:lnTo>
                  <a:lnTo>
                    <a:pt x="567" y="17"/>
                  </a:lnTo>
                  <a:lnTo>
                    <a:pt x="525" y="17"/>
                  </a:lnTo>
                  <a:lnTo>
                    <a:pt x="408" y="47"/>
                  </a:lnTo>
                  <a:lnTo>
                    <a:pt x="307" y="0"/>
                  </a:lnTo>
                  <a:lnTo>
                    <a:pt x="245" y="1"/>
                  </a:lnTo>
                  <a:lnTo>
                    <a:pt x="164" y="45"/>
                  </a:lnTo>
                  <a:lnTo>
                    <a:pt x="100" y="33"/>
                  </a:lnTo>
                  <a:lnTo>
                    <a:pt x="120" y="56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59" name="Freeform 161"/>
            <p:cNvSpPr>
              <a:spLocks noChangeAspect="1"/>
            </p:cNvSpPr>
            <p:nvPr/>
          </p:nvSpPr>
          <p:spPr bwMode="gray">
            <a:xfrm>
              <a:off x="4008766" y="2458286"/>
              <a:ext cx="98012" cy="142680"/>
            </a:xfrm>
            <a:custGeom>
              <a:avLst/>
              <a:gdLst>
                <a:gd name="T0" fmla="*/ 0 w 141"/>
                <a:gd name="T1" fmla="*/ 13 h 165"/>
                <a:gd name="T2" fmla="*/ 0 w 141"/>
                <a:gd name="T3" fmla="*/ 14 h 165"/>
                <a:gd name="T4" fmla="*/ 0 w 141"/>
                <a:gd name="T5" fmla="*/ 15 h 165"/>
                <a:gd name="T6" fmla="*/ 1 w 141"/>
                <a:gd name="T7" fmla="*/ 13 h 165"/>
                <a:gd name="T8" fmla="*/ 2 w 141"/>
                <a:gd name="T9" fmla="*/ 5 h 165"/>
                <a:gd name="T10" fmla="*/ 1 w 141"/>
                <a:gd name="T11" fmla="*/ 3 h 165"/>
                <a:gd name="T12" fmla="*/ 1 w 141"/>
                <a:gd name="T13" fmla="*/ 4 h 165"/>
                <a:gd name="T14" fmla="*/ 1 w 141"/>
                <a:gd name="T15" fmla="*/ 3 h 165"/>
                <a:gd name="T16" fmla="*/ 1 w 141"/>
                <a:gd name="T17" fmla="*/ 1 h 165"/>
                <a:gd name="T18" fmla="*/ 1 w 141"/>
                <a:gd name="T19" fmla="*/ 0 h 165"/>
                <a:gd name="T20" fmla="*/ 0 w 141"/>
                <a:gd name="T21" fmla="*/ 4 h 165"/>
                <a:gd name="T22" fmla="*/ 0 w 141"/>
                <a:gd name="T23" fmla="*/ 5 h 165"/>
                <a:gd name="T24" fmla="*/ 0 w 141"/>
                <a:gd name="T25" fmla="*/ 6 h 165"/>
                <a:gd name="T26" fmla="*/ 0 w 141"/>
                <a:gd name="T27" fmla="*/ 8 h 165"/>
                <a:gd name="T28" fmla="*/ 0 w 141"/>
                <a:gd name="T29" fmla="*/ 8 h 165"/>
                <a:gd name="T30" fmla="*/ 0 w 141"/>
                <a:gd name="T31" fmla="*/ 11 h 165"/>
                <a:gd name="T32" fmla="*/ 0 w 141"/>
                <a:gd name="T33" fmla="*/ 10 h 165"/>
                <a:gd name="T34" fmla="*/ 0 w 141"/>
                <a:gd name="T35" fmla="*/ 13 h 16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1"/>
                <a:gd name="T55" fmla="*/ 0 h 165"/>
                <a:gd name="T56" fmla="*/ 141 w 141"/>
                <a:gd name="T57" fmla="*/ 165 h 16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1" h="165">
                  <a:moveTo>
                    <a:pt x="0" y="137"/>
                  </a:moveTo>
                  <a:lnTo>
                    <a:pt x="18" y="152"/>
                  </a:lnTo>
                  <a:lnTo>
                    <a:pt x="4" y="165"/>
                  </a:lnTo>
                  <a:lnTo>
                    <a:pt x="131" y="140"/>
                  </a:lnTo>
                  <a:lnTo>
                    <a:pt x="141" y="53"/>
                  </a:lnTo>
                  <a:lnTo>
                    <a:pt x="123" y="33"/>
                  </a:lnTo>
                  <a:lnTo>
                    <a:pt x="87" y="43"/>
                  </a:lnTo>
                  <a:lnTo>
                    <a:pt x="73" y="31"/>
                  </a:lnTo>
                  <a:lnTo>
                    <a:pt x="89" y="10"/>
                  </a:lnTo>
                  <a:lnTo>
                    <a:pt x="73" y="0"/>
                  </a:lnTo>
                  <a:lnTo>
                    <a:pt x="57" y="42"/>
                  </a:lnTo>
                  <a:lnTo>
                    <a:pt x="4" y="53"/>
                  </a:lnTo>
                  <a:lnTo>
                    <a:pt x="21" y="64"/>
                  </a:lnTo>
                  <a:lnTo>
                    <a:pt x="11" y="86"/>
                  </a:lnTo>
                  <a:lnTo>
                    <a:pt x="45" y="92"/>
                  </a:lnTo>
                  <a:lnTo>
                    <a:pt x="13" y="124"/>
                  </a:lnTo>
                  <a:lnTo>
                    <a:pt x="51" y="117"/>
                  </a:lnTo>
                  <a:lnTo>
                    <a:pt x="0" y="137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0" name="Freeform 162"/>
            <p:cNvSpPr>
              <a:spLocks noChangeAspect="1"/>
            </p:cNvSpPr>
            <p:nvPr/>
          </p:nvSpPr>
          <p:spPr bwMode="gray">
            <a:xfrm>
              <a:off x="4057772" y="2445014"/>
              <a:ext cx="67384" cy="59726"/>
            </a:xfrm>
            <a:custGeom>
              <a:avLst/>
              <a:gdLst>
                <a:gd name="T0" fmla="*/ 0 w 90"/>
                <a:gd name="T1" fmla="*/ 12 h 64"/>
                <a:gd name="T2" fmla="*/ 0 w 90"/>
                <a:gd name="T3" fmla="*/ 15 h 64"/>
                <a:gd name="T4" fmla="*/ 1 w 90"/>
                <a:gd name="T5" fmla="*/ 12 h 64"/>
                <a:gd name="T6" fmla="*/ 2 w 90"/>
                <a:gd name="T7" fmla="*/ 18 h 64"/>
                <a:gd name="T8" fmla="*/ 3 w 90"/>
                <a:gd name="T9" fmla="*/ 12 h 64"/>
                <a:gd name="T10" fmla="*/ 2 w 90"/>
                <a:gd name="T11" fmla="*/ 3 h 64"/>
                <a:gd name="T12" fmla="*/ 1 w 90"/>
                <a:gd name="T13" fmla="*/ 0 h 64"/>
                <a:gd name="T14" fmla="*/ 0 w 90"/>
                <a:gd name="T15" fmla="*/ 6 h 64"/>
                <a:gd name="T16" fmla="*/ 0 w 90"/>
                <a:gd name="T17" fmla="*/ 12 h 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0"/>
                <a:gd name="T28" fmla="*/ 0 h 64"/>
                <a:gd name="T29" fmla="*/ 90 w 90"/>
                <a:gd name="T30" fmla="*/ 64 h 6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0" h="64">
                  <a:moveTo>
                    <a:pt x="0" y="42"/>
                  </a:moveTo>
                  <a:lnTo>
                    <a:pt x="14" y="54"/>
                  </a:lnTo>
                  <a:lnTo>
                    <a:pt x="50" y="44"/>
                  </a:lnTo>
                  <a:lnTo>
                    <a:pt x="68" y="64"/>
                  </a:lnTo>
                  <a:lnTo>
                    <a:pt x="90" y="42"/>
                  </a:lnTo>
                  <a:lnTo>
                    <a:pt x="69" y="10"/>
                  </a:lnTo>
                  <a:lnTo>
                    <a:pt x="26" y="0"/>
                  </a:lnTo>
                  <a:lnTo>
                    <a:pt x="16" y="21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1" name="Freeform 163"/>
            <p:cNvSpPr>
              <a:spLocks noChangeAspect="1"/>
            </p:cNvSpPr>
            <p:nvPr/>
          </p:nvSpPr>
          <p:spPr bwMode="gray">
            <a:xfrm>
              <a:off x="4092995" y="2348788"/>
              <a:ext cx="15314" cy="16591"/>
            </a:xfrm>
            <a:custGeom>
              <a:avLst/>
              <a:gdLst>
                <a:gd name="T0" fmla="*/ 0 w 22"/>
                <a:gd name="T1" fmla="*/ 1 h 20"/>
                <a:gd name="T2" fmla="*/ 0 w 22"/>
                <a:gd name="T3" fmla="*/ 0 h 20"/>
                <a:gd name="T4" fmla="*/ 0 w 22"/>
                <a:gd name="T5" fmla="*/ 1 h 20"/>
                <a:gd name="T6" fmla="*/ 0 w 22"/>
                <a:gd name="T7" fmla="*/ 1 h 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2"/>
                <a:gd name="T13" fmla="*/ 0 h 20"/>
                <a:gd name="T14" fmla="*/ 22 w 22"/>
                <a:gd name="T15" fmla="*/ 20 h 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2" h="20">
                  <a:moveTo>
                    <a:pt x="0" y="15"/>
                  </a:moveTo>
                  <a:lnTo>
                    <a:pt x="11" y="0"/>
                  </a:lnTo>
                  <a:lnTo>
                    <a:pt x="22" y="20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2" name="Freeform 164"/>
            <p:cNvSpPr>
              <a:spLocks noChangeAspect="1"/>
            </p:cNvSpPr>
            <p:nvPr/>
          </p:nvSpPr>
          <p:spPr bwMode="gray">
            <a:xfrm>
              <a:off x="4108310" y="2307311"/>
              <a:ext cx="194493" cy="356699"/>
            </a:xfrm>
            <a:custGeom>
              <a:avLst/>
              <a:gdLst>
                <a:gd name="T0" fmla="*/ 0 w 268"/>
                <a:gd name="T1" fmla="*/ 10 h 409"/>
                <a:gd name="T2" fmla="*/ 0 w 268"/>
                <a:gd name="T3" fmla="*/ 4 h 409"/>
                <a:gd name="T4" fmla="*/ 1 w 268"/>
                <a:gd name="T5" fmla="*/ 0 h 409"/>
                <a:gd name="T6" fmla="*/ 2 w 268"/>
                <a:gd name="T7" fmla="*/ 0 h 409"/>
                <a:gd name="T8" fmla="*/ 1 w 268"/>
                <a:gd name="T9" fmla="*/ 5 h 409"/>
                <a:gd name="T10" fmla="*/ 3 w 268"/>
                <a:gd name="T11" fmla="*/ 6 h 409"/>
                <a:gd name="T12" fmla="*/ 2 w 268"/>
                <a:gd name="T13" fmla="*/ 13 h 409"/>
                <a:gd name="T14" fmla="*/ 3 w 268"/>
                <a:gd name="T15" fmla="*/ 15 h 409"/>
                <a:gd name="T16" fmla="*/ 5 w 268"/>
                <a:gd name="T17" fmla="*/ 24 h 409"/>
                <a:gd name="T18" fmla="*/ 4 w 268"/>
                <a:gd name="T19" fmla="*/ 25 h 409"/>
                <a:gd name="T20" fmla="*/ 5 w 268"/>
                <a:gd name="T21" fmla="*/ 27 h 409"/>
                <a:gd name="T22" fmla="*/ 4 w 268"/>
                <a:gd name="T23" fmla="*/ 29 h 409"/>
                <a:gd name="T24" fmla="*/ 6 w 268"/>
                <a:gd name="T25" fmla="*/ 29 h 409"/>
                <a:gd name="T26" fmla="*/ 5 w 268"/>
                <a:gd name="T27" fmla="*/ 35 h 409"/>
                <a:gd name="T28" fmla="*/ 6 w 268"/>
                <a:gd name="T29" fmla="*/ 36 h 409"/>
                <a:gd name="T30" fmla="*/ 0 w 268"/>
                <a:gd name="T31" fmla="*/ 42 h 409"/>
                <a:gd name="T32" fmla="*/ 3 w 268"/>
                <a:gd name="T33" fmla="*/ 34 h 409"/>
                <a:gd name="T34" fmla="*/ 2 w 268"/>
                <a:gd name="T35" fmla="*/ 35 h 409"/>
                <a:gd name="T36" fmla="*/ 0 w 268"/>
                <a:gd name="T37" fmla="*/ 33 h 409"/>
                <a:gd name="T38" fmla="*/ 1 w 268"/>
                <a:gd name="T39" fmla="*/ 30 h 409"/>
                <a:gd name="T40" fmla="*/ 1 w 268"/>
                <a:gd name="T41" fmla="*/ 29 h 409"/>
                <a:gd name="T42" fmla="*/ 2 w 268"/>
                <a:gd name="T43" fmla="*/ 26 h 409"/>
                <a:gd name="T44" fmla="*/ 2 w 268"/>
                <a:gd name="T45" fmla="*/ 22 h 409"/>
                <a:gd name="T46" fmla="*/ 2 w 268"/>
                <a:gd name="T47" fmla="*/ 21 h 409"/>
                <a:gd name="T48" fmla="*/ 2 w 268"/>
                <a:gd name="T49" fmla="*/ 18 h 409"/>
                <a:gd name="T50" fmla="*/ 1 w 268"/>
                <a:gd name="T51" fmla="*/ 19 h 409"/>
                <a:gd name="T52" fmla="*/ 1 w 268"/>
                <a:gd name="T53" fmla="*/ 14 h 409"/>
                <a:gd name="T54" fmla="*/ 0 w 268"/>
                <a:gd name="T55" fmla="*/ 16 h 409"/>
                <a:gd name="T56" fmla="*/ 0 w 268"/>
                <a:gd name="T57" fmla="*/ 10 h 409"/>
                <a:gd name="T58" fmla="*/ 0 w 268"/>
                <a:gd name="T59" fmla="*/ 10 h 4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68"/>
                <a:gd name="T91" fmla="*/ 0 h 409"/>
                <a:gd name="T92" fmla="*/ 268 w 268"/>
                <a:gd name="T93" fmla="*/ 409 h 4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68" h="409">
                  <a:moveTo>
                    <a:pt x="0" y="96"/>
                  </a:moveTo>
                  <a:lnTo>
                    <a:pt x="10" y="41"/>
                  </a:lnTo>
                  <a:lnTo>
                    <a:pt x="39" y="0"/>
                  </a:lnTo>
                  <a:lnTo>
                    <a:pt x="102" y="0"/>
                  </a:lnTo>
                  <a:lnTo>
                    <a:pt x="65" y="49"/>
                  </a:lnTo>
                  <a:lnTo>
                    <a:pt x="147" y="59"/>
                  </a:lnTo>
                  <a:lnTo>
                    <a:pt x="96" y="126"/>
                  </a:lnTo>
                  <a:lnTo>
                    <a:pt x="157" y="150"/>
                  </a:lnTo>
                  <a:lnTo>
                    <a:pt x="215" y="234"/>
                  </a:lnTo>
                  <a:lnTo>
                    <a:pt x="198" y="239"/>
                  </a:lnTo>
                  <a:lnTo>
                    <a:pt x="224" y="260"/>
                  </a:lnTo>
                  <a:lnTo>
                    <a:pt x="209" y="280"/>
                  </a:lnTo>
                  <a:lnTo>
                    <a:pt x="268" y="285"/>
                  </a:lnTo>
                  <a:lnTo>
                    <a:pt x="233" y="340"/>
                  </a:lnTo>
                  <a:lnTo>
                    <a:pt x="257" y="356"/>
                  </a:lnTo>
                  <a:lnTo>
                    <a:pt x="15" y="409"/>
                  </a:lnTo>
                  <a:lnTo>
                    <a:pt x="122" y="333"/>
                  </a:lnTo>
                  <a:lnTo>
                    <a:pt x="91" y="345"/>
                  </a:lnTo>
                  <a:lnTo>
                    <a:pt x="30" y="322"/>
                  </a:lnTo>
                  <a:lnTo>
                    <a:pt x="75" y="294"/>
                  </a:lnTo>
                  <a:lnTo>
                    <a:pt x="47" y="280"/>
                  </a:lnTo>
                  <a:lnTo>
                    <a:pt x="108" y="251"/>
                  </a:lnTo>
                  <a:lnTo>
                    <a:pt x="115" y="213"/>
                  </a:lnTo>
                  <a:lnTo>
                    <a:pt x="83" y="202"/>
                  </a:lnTo>
                  <a:lnTo>
                    <a:pt x="102" y="180"/>
                  </a:lnTo>
                  <a:lnTo>
                    <a:pt x="38" y="191"/>
                  </a:lnTo>
                  <a:lnTo>
                    <a:pt x="39" y="132"/>
                  </a:lnTo>
                  <a:lnTo>
                    <a:pt x="10" y="159"/>
                  </a:lnTo>
                  <a:lnTo>
                    <a:pt x="27" y="99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3" name="Freeform 165"/>
            <p:cNvSpPr>
              <a:spLocks noChangeAspect="1"/>
            </p:cNvSpPr>
            <p:nvPr/>
          </p:nvSpPr>
          <p:spPr bwMode="gray">
            <a:xfrm>
              <a:off x="385369" y="2342152"/>
              <a:ext cx="67384" cy="48113"/>
            </a:xfrm>
            <a:custGeom>
              <a:avLst/>
              <a:gdLst>
                <a:gd name="T0" fmla="*/ 0 w 92"/>
                <a:gd name="T1" fmla="*/ 4 h 53"/>
                <a:gd name="T2" fmla="*/ 0 w 92"/>
                <a:gd name="T3" fmla="*/ 10 h 53"/>
                <a:gd name="T4" fmla="*/ 2 w 92"/>
                <a:gd name="T5" fmla="*/ 2 h 53"/>
                <a:gd name="T6" fmla="*/ 0 w 92"/>
                <a:gd name="T7" fmla="*/ 0 h 53"/>
                <a:gd name="T8" fmla="*/ 1 w 92"/>
                <a:gd name="T9" fmla="*/ 4 h 53"/>
                <a:gd name="T10" fmla="*/ 0 w 92"/>
                <a:gd name="T11" fmla="*/ 4 h 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2"/>
                <a:gd name="T19" fmla="*/ 0 h 53"/>
                <a:gd name="T20" fmla="*/ 92 w 92"/>
                <a:gd name="T21" fmla="*/ 53 h 5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2" h="53">
                  <a:moveTo>
                    <a:pt x="0" y="21"/>
                  </a:moveTo>
                  <a:lnTo>
                    <a:pt x="26" y="53"/>
                  </a:lnTo>
                  <a:lnTo>
                    <a:pt x="92" y="9"/>
                  </a:lnTo>
                  <a:lnTo>
                    <a:pt x="31" y="0"/>
                  </a:lnTo>
                  <a:lnTo>
                    <a:pt x="38" y="2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4" name="Freeform 166"/>
            <p:cNvSpPr>
              <a:spLocks noChangeAspect="1"/>
            </p:cNvSpPr>
            <p:nvPr/>
          </p:nvSpPr>
          <p:spPr bwMode="gray">
            <a:xfrm>
              <a:off x="806517" y="2257539"/>
              <a:ext cx="199088" cy="212360"/>
            </a:xfrm>
            <a:custGeom>
              <a:avLst/>
              <a:gdLst>
                <a:gd name="T0" fmla="*/ 0 w 277"/>
                <a:gd name="T1" fmla="*/ 2 h 248"/>
                <a:gd name="T2" fmla="*/ 0 w 277"/>
                <a:gd name="T3" fmla="*/ 5 h 248"/>
                <a:gd name="T4" fmla="*/ 1 w 277"/>
                <a:gd name="T5" fmla="*/ 6 h 248"/>
                <a:gd name="T6" fmla="*/ 1 w 277"/>
                <a:gd name="T7" fmla="*/ 5 h 248"/>
                <a:gd name="T8" fmla="*/ 0 w 277"/>
                <a:gd name="T9" fmla="*/ 4 h 248"/>
                <a:gd name="T10" fmla="*/ 1 w 277"/>
                <a:gd name="T11" fmla="*/ 4 h 248"/>
                <a:gd name="T12" fmla="*/ 2 w 277"/>
                <a:gd name="T13" fmla="*/ 6 h 248"/>
                <a:gd name="T14" fmla="*/ 1 w 277"/>
                <a:gd name="T15" fmla="*/ 2 h 248"/>
                <a:gd name="T16" fmla="*/ 2 w 277"/>
                <a:gd name="T17" fmla="*/ 6 h 248"/>
                <a:gd name="T18" fmla="*/ 3 w 277"/>
                <a:gd name="T19" fmla="*/ 8 h 248"/>
                <a:gd name="T20" fmla="*/ 3 w 277"/>
                <a:gd name="T21" fmla="*/ 10 h 248"/>
                <a:gd name="T22" fmla="*/ 4 w 277"/>
                <a:gd name="T23" fmla="*/ 14 h 248"/>
                <a:gd name="T24" fmla="*/ 4 w 277"/>
                <a:gd name="T25" fmla="*/ 17 h 248"/>
                <a:gd name="T26" fmla="*/ 5 w 277"/>
                <a:gd name="T27" fmla="*/ 14 h 248"/>
                <a:gd name="T28" fmla="*/ 5 w 277"/>
                <a:gd name="T29" fmla="*/ 20 h 248"/>
                <a:gd name="T30" fmla="*/ 5 w 277"/>
                <a:gd name="T31" fmla="*/ 19 h 248"/>
                <a:gd name="T32" fmla="*/ 5 w 277"/>
                <a:gd name="T33" fmla="*/ 14 h 248"/>
                <a:gd name="T34" fmla="*/ 4 w 277"/>
                <a:gd name="T35" fmla="*/ 12 h 248"/>
                <a:gd name="T36" fmla="*/ 2 w 277"/>
                <a:gd name="T37" fmla="*/ 0 h 248"/>
                <a:gd name="T38" fmla="*/ 0 w 277"/>
                <a:gd name="T39" fmla="*/ 4 h 248"/>
                <a:gd name="T40" fmla="*/ 0 w 277"/>
                <a:gd name="T41" fmla="*/ 2 h 24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77"/>
                <a:gd name="T64" fmla="*/ 0 h 248"/>
                <a:gd name="T65" fmla="*/ 277 w 277"/>
                <a:gd name="T66" fmla="*/ 248 h 24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77" h="248">
                  <a:moveTo>
                    <a:pt x="0" y="24"/>
                  </a:moveTo>
                  <a:lnTo>
                    <a:pt x="11" y="61"/>
                  </a:lnTo>
                  <a:lnTo>
                    <a:pt x="50" y="76"/>
                  </a:lnTo>
                  <a:lnTo>
                    <a:pt x="67" y="64"/>
                  </a:lnTo>
                  <a:lnTo>
                    <a:pt x="34" y="45"/>
                  </a:lnTo>
                  <a:lnTo>
                    <a:pt x="67" y="45"/>
                  </a:lnTo>
                  <a:lnTo>
                    <a:pt x="95" y="77"/>
                  </a:lnTo>
                  <a:lnTo>
                    <a:pt x="86" y="21"/>
                  </a:lnTo>
                  <a:lnTo>
                    <a:pt x="110" y="70"/>
                  </a:lnTo>
                  <a:lnTo>
                    <a:pt x="168" y="98"/>
                  </a:lnTo>
                  <a:lnTo>
                    <a:pt x="157" y="132"/>
                  </a:lnTo>
                  <a:lnTo>
                    <a:pt x="223" y="175"/>
                  </a:lnTo>
                  <a:lnTo>
                    <a:pt x="205" y="212"/>
                  </a:lnTo>
                  <a:lnTo>
                    <a:pt x="241" y="182"/>
                  </a:lnTo>
                  <a:lnTo>
                    <a:pt x="248" y="248"/>
                  </a:lnTo>
                  <a:lnTo>
                    <a:pt x="274" y="237"/>
                  </a:lnTo>
                  <a:lnTo>
                    <a:pt x="277" y="187"/>
                  </a:lnTo>
                  <a:lnTo>
                    <a:pt x="211" y="160"/>
                  </a:lnTo>
                  <a:lnTo>
                    <a:pt x="88" y="0"/>
                  </a:lnTo>
                  <a:lnTo>
                    <a:pt x="18" y="45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5" name="Freeform 167"/>
            <p:cNvSpPr>
              <a:spLocks noChangeAspect="1"/>
            </p:cNvSpPr>
            <p:nvPr/>
          </p:nvSpPr>
          <p:spPr bwMode="gray">
            <a:xfrm>
              <a:off x="850928" y="2325561"/>
              <a:ext cx="32160" cy="34840"/>
            </a:xfrm>
            <a:custGeom>
              <a:avLst/>
              <a:gdLst>
                <a:gd name="T0" fmla="*/ 0 w 47"/>
                <a:gd name="T1" fmla="*/ 0 h 41"/>
                <a:gd name="T2" fmla="*/ 0 w 47"/>
                <a:gd name="T3" fmla="*/ 3 h 41"/>
                <a:gd name="T4" fmla="*/ 0 w 47"/>
                <a:gd name="T5" fmla="*/ 2 h 41"/>
                <a:gd name="T6" fmla="*/ 0 w 47"/>
                <a:gd name="T7" fmla="*/ 3 h 41"/>
                <a:gd name="T8" fmla="*/ 0 w 47"/>
                <a:gd name="T9" fmla="*/ 2 h 41"/>
                <a:gd name="T10" fmla="*/ 0 w 47"/>
                <a:gd name="T11" fmla="*/ 1 h 41"/>
                <a:gd name="T12" fmla="*/ 0 w 47"/>
                <a:gd name="T13" fmla="*/ 0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7"/>
                <a:gd name="T22" fmla="*/ 0 h 41"/>
                <a:gd name="T23" fmla="*/ 47 w 47"/>
                <a:gd name="T24" fmla="*/ 41 h 4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7" h="41">
                  <a:moveTo>
                    <a:pt x="0" y="0"/>
                  </a:moveTo>
                  <a:lnTo>
                    <a:pt x="14" y="41"/>
                  </a:lnTo>
                  <a:lnTo>
                    <a:pt x="17" y="21"/>
                  </a:lnTo>
                  <a:lnTo>
                    <a:pt x="47" y="38"/>
                  </a:lnTo>
                  <a:lnTo>
                    <a:pt x="19" y="21"/>
                  </a:lnTo>
                  <a:lnTo>
                    <a:pt x="45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6" name="Freeform 168"/>
            <p:cNvSpPr>
              <a:spLocks noChangeAspect="1"/>
            </p:cNvSpPr>
            <p:nvPr/>
          </p:nvSpPr>
          <p:spPr bwMode="gray">
            <a:xfrm>
              <a:off x="867774" y="2357083"/>
              <a:ext cx="18377" cy="53090"/>
            </a:xfrm>
            <a:custGeom>
              <a:avLst/>
              <a:gdLst>
                <a:gd name="T0" fmla="*/ 0 w 27"/>
                <a:gd name="T1" fmla="*/ 0 h 61"/>
                <a:gd name="T2" fmla="*/ 0 w 27"/>
                <a:gd name="T3" fmla="*/ 1 h 61"/>
                <a:gd name="T4" fmla="*/ 0 w 27"/>
                <a:gd name="T5" fmla="*/ 6 h 61"/>
                <a:gd name="T6" fmla="*/ 0 w 27"/>
                <a:gd name="T7" fmla="*/ 0 h 6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61"/>
                <a:gd name="T14" fmla="*/ 27 w 27"/>
                <a:gd name="T15" fmla="*/ 61 h 6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61">
                  <a:moveTo>
                    <a:pt x="0" y="0"/>
                  </a:moveTo>
                  <a:lnTo>
                    <a:pt x="25" y="12"/>
                  </a:lnTo>
                  <a:lnTo>
                    <a:pt x="27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7" name="Freeform 169"/>
            <p:cNvSpPr>
              <a:spLocks noChangeAspect="1"/>
            </p:cNvSpPr>
            <p:nvPr/>
          </p:nvSpPr>
          <p:spPr bwMode="gray">
            <a:xfrm>
              <a:off x="886152" y="2330538"/>
              <a:ext cx="27566" cy="29863"/>
            </a:xfrm>
            <a:custGeom>
              <a:avLst/>
              <a:gdLst>
                <a:gd name="T0" fmla="*/ 0 w 34"/>
                <a:gd name="T1" fmla="*/ 0 h 37"/>
                <a:gd name="T2" fmla="*/ 1 w 34"/>
                <a:gd name="T3" fmla="*/ 1 h 37"/>
                <a:gd name="T4" fmla="*/ 3 w 34"/>
                <a:gd name="T5" fmla="*/ 1 h 37"/>
                <a:gd name="T6" fmla="*/ 2 w 34"/>
                <a:gd name="T7" fmla="*/ 0 h 37"/>
                <a:gd name="T8" fmla="*/ 4 w 34"/>
                <a:gd name="T9" fmla="*/ 1 h 37"/>
                <a:gd name="T10" fmla="*/ 2 w 34"/>
                <a:gd name="T11" fmla="*/ 0 h 37"/>
                <a:gd name="T12" fmla="*/ 0 w 34"/>
                <a:gd name="T13" fmla="*/ 0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7"/>
                <a:gd name="T23" fmla="*/ 34 w 34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7">
                  <a:moveTo>
                    <a:pt x="0" y="0"/>
                  </a:moveTo>
                  <a:lnTo>
                    <a:pt x="7" y="37"/>
                  </a:lnTo>
                  <a:lnTo>
                    <a:pt x="29" y="37"/>
                  </a:lnTo>
                  <a:lnTo>
                    <a:pt x="18" y="4"/>
                  </a:lnTo>
                  <a:lnTo>
                    <a:pt x="34" y="27"/>
                  </a:ln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8" name="Freeform 170"/>
            <p:cNvSpPr>
              <a:spLocks noChangeAspect="1"/>
            </p:cNvSpPr>
            <p:nvPr/>
          </p:nvSpPr>
          <p:spPr bwMode="gray">
            <a:xfrm>
              <a:off x="910655" y="2375333"/>
              <a:ext cx="19909" cy="26545"/>
            </a:xfrm>
            <a:custGeom>
              <a:avLst/>
              <a:gdLst>
                <a:gd name="T0" fmla="*/ 0 w 30"/>
                <a:gd name="T1" fmla="*/ 0 h 27"/>
                <a:gd name="T2" fmla="*/ 0 w 30"/>
                <a:gd name="T3" fmla="*/ 17 h 27"/>
                <a:gd name="T4" fmla="*/ 0 w 30"/>
                <a:gd name="T5" fmla="*/ 2 h 27"/>
                <a:gd name="T6" fmla="*/ 0 w 30"/>
                <a:gd name="T7" fmla="*/ 0 h 2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0"/>
                <a:gd name="T13" fmla="*/ 0 h 27"/>
                <a:gd name="T14" fmla="*/ 30 w 30"/>
                <a:gd name="T15" fmla="*/ 27 h 2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0" h="27">
                  <a:moveTo>
                    <a:pt x="0" y="0"/>
                  </a:moveTo>
                  <a:lnTo>
                    <a:pt x="29" y="27"/>
                  </a:lnTo>
                  <a:lnTo>
                    <a:pt x="3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69" name="Freeform 171"/>
            <p:cNvSpPr>
              <a:spLocks noChangeAspect="1"/>
            </p:cNvSpPr>
            <p:nvPr/>
          </p:nvSpPr>
          <p:spPr bwMode="gray">
            <a:xfrm>
              <a:off x="916780" y="2410173"/>
              <a:ext cx="30629" cy="51431"/>
            </a:xfrm>
            <a:custGeom>
              <a:avLst/>
              <a:gdLst>
                <a:gd name="T0" fmla="*/ 0 w 47"/>
                <a:gd name="T1" fmla="*/ 0 h 64"/>
                <a:gd name="T2" fmla="*/ 0 w 47"/>
                <a:gd name="T3" fmla="*/ 0 h 64"/>
                <a:gd name="T4" fmla="*/ 0 w 47"/>
                <a:gd name="T5" fmla="*/ 2 h 64"/>
                <a:gd name="T6" fmla="*/ 0 w 47"/>
                <a:gd name="T7" fmla="*/ 0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7"/>
                <a:gd name="T13" fmla="*/ 0 h 64"/>
                <a:gd name="T14" fmla="*/ 47 w 47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7" h="64">
                  <a:moveTo>
                    <a:pt x="0" y="0"/>
                  </a:moveTo>
                  <a:lnTo>
                    <a:pt x="37" y="23"/>
                  </a:lnTo>
                  <a:lnTo>
                    <a:pt x="47" y="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0" name="Freeform 172"/>
            <p:cNvSpPr>
              <a:spLocks noChangeAspect="1"/>
            </p:cNvSpPr>
            <p:nvPr/>
          </p:nvSpPr>
          <p:spPr bwMode="gray">
            <a:xfrm>
              <a:off x="968850" y="2423446"/>
              <a:ext cx="18377" cy="31522"/>
            </a:xfrm>
            <a:custGeom>
              <a:avLst/>
              <a:gdLst>
                <a:gd name="T0" fmla="*/ 0 w 25"/>
                <a:gd name="T1" fmla="*/ 1 h 38"/>
                <a:gd name="T2" fmla="*/ 0 w 25"/>
                <a:gd name="T3" fmla="*/ 0 h 38"/>
                <a:gd name="T4" fmla="*/ 0 w 25"/>
                <a:gd name="T5" fmla="*/ 2 h 38"/>
                <a:gd name="T6" fmla="*/ 0 w 25"/>
                <a:gd name="T7" fmla="*/ 1 h 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"/>
                <a:gd name="T13" fmla="*/ 0 h 38"/>
                <a:gd name="T14" fmla="*/ 25 w 25"/>
                <a:gd name="T15" fmla="*/ 38 h 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" h="38">
                  <a:moveTo>
                    <a:pt x="0" y="22"/>
                  </a:moveTo>
                  <a:lnTo>
                    <a:pt x="13" y="0"/>
                  </a:lnTo>
                  <a:lnTo>
                    <a:pt x="25" y="38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1" name="Freeform 173"/>
            <p:cNvSpPr>
              <a:spLocks noChangeAspect="1"/>
            </p:cNvSpPr>
            <p:nvPr/>
          </p:nvSpPr>
          <p:spPr bwMode="gray">
            <a:xfrm>
              <a:off x="1141903" y="2687237"/>
              <a:ext cx="1441089" cy="837827"/>
            </a:xfrm>
            <a:custGeom>
              <a:avLst/>
              <a:gdLst>
                <a:gd name="T0" fmla="*/ 0 w 2001"/>
                <a:gd name="T1" fmla="*/ 11 h 971"/>
                <a:gd name="T2" fmla="*/ 0 w 2001"/>
                <a:gd name="T3" fmla="*/ 12 h 971"/>
                <a:gd name="T4" fmla="*/ 1 w 2001"/>
                <a:gd name="T5" fmla="*/ 42 h 971"/>
                <a:gd name="T6" fmla="*/ 1 w 2001"/>
                <a:gd name="T7" fmla="*/ 45 h 971"/>
                <a:gd name="T8" fmla="*/ 4 w 2001"/>
                <a:gd name="T9" fmla="*/ 56 h 971"/>
                <a:gd name="T10" fmla="*/ 7 w 2001"/>
                <a:gd name="T11" fmla="*/ 60 h 971"/>
                <a:gd name="T12" fmla="*/ 12 w 2001"/>
                <a:gd name="T13" fmla="*/ 63 h 971"/>
                <a:gd name="T14" fmla="*/ 16 w 2001"/>
                <a:gd name="T15" fmla="*/ 70 h 971"/>
                <a:gd name="T16" fmla="*/ 19 w 2001"/>
                <a:gd name="T17" fmla="*/ 83 h 971"/>
                <a:gd name="T18" fmla="*/ 20 w 2001"/>
                <a:gd name="T19" fmla="*/ 73 h 971"/>
                <a:gd name="T20" fmla="*/ 22 w 2001"/>
                <a:gd name="T21" fmla="*/ 70 h 971"/>
                <a:gd name="T22" fmla="*/ 24 w 2001"/>
                <a:gd name="T23" fmla="*/ 69 h 971"/>
                <a:gd name="T24" fmla="*/ 24 w 2001"/>
                <a:gd name="T25" fmla="*/ 68 h 971"/>
                <a:gd name="T26" fmla="*/ 24 w 2001"/>
                <a:gd name="T27" fmla="*/ 69 h 971"/>
                <a:gd name="T28" fmla="*/ 28 w 2001"/>
                <a:gd name="T29" fmla="*/ 72 h 971"/>
                <a:gd name="T30" fmla="*/ 29 w 2001"/>
                <a:gd name="T31" fmla="*/ 85 h 971"/>
                <a:gd name="T32" fmla="*/ 30 w 2001"/>
                <a:gd name="T33" fmla="*/ 79 h 971"/>
                <a:gd name="T34" fmla="*/ 30 w 2001"/>
                <a:gd name="T35" fmla="*/ 61 h 971"/>
                <a:gd name="T36" fmla="*/ 32 w 2001"/>
                <a:gd name="T37" fmla="*/ 49 h 971"/>
                <a:gd name="T38" fmla="*/ 32 w 2001"/>
                <a:gd name="T39" fmla="*/ 45 h 971"/>
                <a:gd name="T40" fmla="*/ 32 w 2001"/>
                <a:gd name="T41" fmla="*/ 40 h 971"/>
                <a:gd name="T42" fmla="*/ 32 w 2001"/>
                <a:gd name="T43" fmla="*/ 38 h 971"/>
                <a:gd name="T44" fmla="*/ 33 w 2001"/>
                <a:gd name="T45" fmla="*/ 45 h 971"/>
                <a:gd name="T46" fmla="*/ 33 w 2001"/>
                <a:gd name="T47" fmla="*/ 36 h 971"/>
                <a:gd name="T48" fmla="*/ 34 w 2001"/>
                <a:gd name="T49" fmla="*/ 32 h 971"/>
                <a:gd name="T50" fmla="*/ 36 w 2001"/>
                <a:gd name="T51" fmla="*/ 27 h 971"/>
                <a:gd name="T52" fmla="*/ 39 w 2001"/>
                <a:gd name="T53" fmla="*/ 18 h 971"/>
                <a:gd name="T54" fmla="*/ 38 w 2001"/>
                <a:gd name="T55" fmla="*/ 15 h 971"/>
                <a:gd name="T56" fmla="*/ 37 w 2001"/>
                <a:gd name="T57" fmla="*/ 8 h 971"/>
                <a:gd name="T58" fmla="*/ 33 w 2001"/>
                <a:gd name="T59" fmla="*/ 19 h 971"/>
                <a:gd name="T60" fmla="*/ 31 w 2001"/>
                <a:gd name="T61" fmla="*/ 24 h 971"/>
                <a:gd name="T62" fmla="*/ 29 w 2001"/>
                <a:gd name="T63" fmla="*/ 30 h 971"/>
                <a:gd name="T64" fmla="*/ 28 w 2001"/>
                <a:gd name="T65" fmla="*/ 28 h 971"/>
                <a:gd name="T66" fmla="*/ 28 w 2001"/>
                <a:gd name="T67" fmla="*/ 25 h 971"/>
                <a:gd name="T68" fmla="*/ 28 w 2001"/>
                <a:gd name="T69" fmla="*/ 21 h 971"/>
                <a:gd name="T70" fmla="*/ 28 w 2001"/>
                <a:gd name="T71" fmla="*/ 16 h 971"/>
                <a:gd name="T72" fmla="*/ 26 w 2001"/>
                <a:gd name="T73" fmla="*/ 18 h 971"/>
                <a:gd name="T74" fmla="*/ 25 w 2001"/>
                <a:gd name="T75" fmla="*/ 29 h 971"/>
                <a:gd name="T76" fmla="*/ 25 w 2001"/>
                <a:gd name="T77" fmla="*/ 16 h 971"/>
                <a:gd name="T78" fmla="*/ 25 w 2001"/>
                <a:gd name="T79" fmla="*/ 13 h 971"/>
                <a:gd name="T80" fmla="*/ 27 w 2001"/>
                <a:gd name="T81" fmla="*/ 11 h 971"/>
                <a:gd name="T82" fmla="*/ 24 w 2001"/>
                <a:gd name="T83" fmla="*/ 10 h 971"/>
                <a:gd name="T84" fmla="*/ 23 w 2001"/>
                <a:gd name="T85" fmla="*/ 11 h 971"/>
                <a:gd name="T86" fmla="*/ 23 w 2001"/>
                <a:gd name="T87" fmla="*/ 6 h 971"/>
                <a:gd name="T88" fmla="*/ 20 w 2001"/>
                <a:gd name="T89" fmla="*/ 0 h 971"/>
                <a:gd name="T90" fmla="*/ 1 w 2001"/>
                <a:gd name="T91" fmla="*/ 2 h 971"/>
                <a:gd name="T92" fmla="*/ 1 w 2001"/>
                <a:gd name="T93" fmla="*/ 8 h 971"/>
                <a:gd name="T94" fmla="*/ 0 w 2001"/>
                <a:gd name="T95" fmla="*/ 5 h 97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01"/>
                <a:gd name="T145" fmla="*/ 0 h 971"/>
                <a:gd name="T146" fmla="*/ 2001 w 2001"/>
                <a:gd name="T147" fmla="*/ 971 h 97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01" h="971">
                  <a:moveTo>
                    <a:pt x="0" y="55"/>
                  </a:moveTo>
                  <a:lnTo>
                    <a:pt x="23" y="134"/>
                  </a:lnTo>
                  <a:lnTo>
                    <a:pt x="51" y="142"/>
                  </a:lnTo>
                  <a:lnTo>
                    <a:pt x="28" y="146"/>
                  </a:lnTo>
                  <a:lnTo>
                    <a:pt x="11" y="387"/>
                  </a:lnTo>
                  <a:lnTo>
                    <a:pt x="61" y="480"/>
                  </a:lnTo>
                  <a:lnTo>
                    <a:pt x="94" y="480"/>
                  </a:lnTo>
                  <a:lnTo>
                    <a:pt x="80" y="515"/>
                  </a:lnTo>
                  <a:lnTo>
                    <a:pt x="145" y="617"/>
                  </a:lnTo>
                  <a:lnTo>
                    <a:pt x="211" y="640"/>
                  </a:lnTo>
                  <a:lnTo>
                    <a:pt x="264" y="697"/>
                  </a:lnTo>
                  <a:lnTo>
                    <a:pt x="343" y="691"/>
                  </a:lnTo>
                  <a:lnTo>
                    <a:pt x="475" y="745"/>
                  </a:lnTo>
                  <a:lnTo>
                    <a:pt x="633" y="723"/>
                  </a:lnTo>
                  <a:lnTo>
                    <a:pt x="729" y="827"/>
                  </a:lnTo>
                  <a:lnTo>
                    <a:pt x="801" y="799"/>
                  </a:lnTo>
                  <a:lnTo>
                    <a:pt x="889" y="924"/>
                  </a:lnTo>
                  <a:lnTo>
                    <a:pt x="957" y="947"/>
                  </a:lnTo>
                  <a:lnTo>
                    <a:pt x="950" y="877"/>
                  </a:lnTo>
                  <a:lnTo>
                    <a:pt x="1021" y="833"/>
                  </a:lnTo>
                  <a:lnTo>
                    <a:pt x="1028" y="801"/>
                  </a:lnTo>
                  <a:lnTo>
                    <a:pt x="1132" y="799"/>
                  </a:lnTo>
                  <a:lnTo>
                    <a:pt x="1223" y="827"/>
                  </a:lnTo>
                  <a:lnTo>
                    <a:pt x="1224" y="785"/>
                  </a:lnTo>
                  <a:lnTo>
                    <a:pt x="1188" y="779"/>
                  </a:lnTo>
                  <a:lnTo>
                    <a:pt x="1264" y="778"/>
                  </a:lnTo>
                  <a:lnTo>
                    <a:pt x="1268" y="758"/>
                  </a:lnTo>
                  <a:lnTo>
                    <a:pt x="1274" y="782"/>
                  </a:lnTo>
                  <a:lnTo>
                    <a:pt x="1416" y="790"/>
                  </a:lnTo>
                  <a:lnTo>
                    <a:pt x="1453" y="825"/>
                  </a:lnTo>
                  <a:lnTo>
                    <a:pt x="1459" y="888"/>
                  </a:lnTo>
                  <a:lnTo>
                    <a:pt x="1504" y="971"/>
                  </a:lnTo>
                  <a:lnTo>
                    <a:pt x="1531" y="968"/>
                  </a:lnTo>
                  <a:lnTo>
                    <a:pt x="1543" y="905"/>
                  </a:lnTo>
                  <a:lnTo>
                    <a:pt x="1495" y="758"/>
                  </a:lnTo>
                  <a:lnTo>
                    <a:pt x="1525" y="696"/>
                  </a:lnTo>
                  <a:lnTo>
                    <a:pt x="1700" y="576"/>
                  </a:lnTo>
                  <a:lnTo>
                    <a:pt x="1665" y="564"/>
                  </a:lnTo>
                  <a:lnTo>
                    <a:pt x="1697" y="559"/>
                  </a:lnTo>
                  <a:lnTo>
                    <a:pt x="1673" y="519"/>
                  </a:lnTo>
                  <a:lnTo>
                    <a:pt x="1679" y="485"/>
                  </a:lnTo>
                  <a:lnTo>
                    <a:pt x="1643" y="458"/>
                  </a:lnTo>
                  <a:lnTo>
                    <a:pt x="1679" y="476"/>
                  </a:lnTo>
                  <a:lnTo>
                    <a:pt x="1667" y="433"/>
                  </a:lnTo>
                  <a:lnTo>
                    <a:pt x="1694" y="421"/>
                  </a:lnTo>
                  <a:lnTo>
                    <a:pt x="1697" y="515"/>
                  </a:lnTo>
                  <a:lnTo>
                    <a:pt x="1724" y="459"/>
                  </a:lnTo>
                  <a:lnTo>
                    <a:pt x="1707" y="415"/>
                  </a:lnTo>
                  <a:lnTo>
                    <a:pt x="1725" y="441"/>
                  </a:lnTo>
                  <a:lnTo>
                    <a:pt x="1762" y="365"/>
                  </a:lnTo>
                  <a:lnTo>
                    <a:pt x="1902" y="330"/>
                  </a:lnTo>
                  <a:lnTo>
                    <a:pt x="1866" y="310"/>
                  </a:lnTo>
                  <a:lnTo>
                    <a:pt x="1892" y="251"/>
                  </a:lnTo>
                  <a:lnTo>
                    <a:pt x="1997" y="208"/>
                  </a:lnTo>
                  <a:lnTo>
                    <a:pt x="2001" y="184"/>
                  </a:lnTo>
                  <a:lnTo>
                    <a:pt x="1975" y="163"/>
                  </a:lnTo>
                  <a:lnTo>
                    <a:pt x="1975" y="108"/>
                  </a:lnTo>
                  <a:lnTo>
                    <a:pt x="1917" y="90"/>
                  </a:lnTo>
                  <a:lnTo>
                    <a:pt x="1875" y="180"/>
                  </a:lnTo>
                  <a:lnTo>
                    <a:pt x="1697" y="214"/>
                  </a:lnTo>
                  <a:lnTo>
                    <a:pt x="1685" y="255"/>
                  </a:lnTo>
                  <a:lnTo>
                    <a:pt x="1584" y="271"/>
                  </a:lnTo>
                  <a:lnTo>
                    <a:pt x="1590" y="284"/>
                  </a:lnTo>
                  <a:lnTo>
                    <a:pt x="1487" y="339"/>
                  </a:lnTo>
                  <a:lnTo>
                    <a:pt x="1444" y="338"/>
                  </a:lnTo>
                  <a:lnTo>
                    <a:pt x="1442" y="321"/>
                  </a:lnTo>
                  <a:lnTo>
                    <a:pt x="1450" y="304"/>
                  </a:lnTo>
                  <a:lnTo>
                    <a:pt x="1460" y="293"/>
                  </a:lnTo>
                  <a:lnTo>
                    <a:pt x="1465" y="275"/>
                  </a:lnTo>
                  <a:lnTo>
                    <a:pt x="1450" y="234"/>
                  </a:lnTo>
                  <a:lnTo>
                    <a:pt x="1415" y="250"/>
                  </a:lnTo>
                  <a:lnTo>
                    <a:pt x="1427" y="182"/>
                  </a:lnTo>
                  <a:lnTo>
                    <a:pt x="1374" y="163"/>
                  </a:lnTo>
                  <a:lnTo>
                    <a:pt x="1333" y="208"/>
                  </a:lnTo>
                  <a:lnTo>
                    <a:pt x="1317" y="323"/>
                  </a:lnTo>
                  <a:lnTo>
                    <a:pt x="1286" y="327"/>
                  </a:lnTo>
                  <a:lnTo>
                    <a:pt x="1275" y="272"/>
                  </a:lnTo>
                  <a:lnTo>
                    <a:pt x="1301" y="185"/>
                  </a:lnTo>
                  <a:lnTo>
                    <a:pt x="1277" y="200"/>
                  </a:lnTo>
                  <a:lnTo>
                    <a:pt x="1321" y="153"/>
                  </a:lnTo>
                  <a:lnTo>
                    <a:pt x="1412" y="152"/>
                  </a:lnTo>
                  <a:lnTo>
                    <a:pt x="1395" y="129"/>
                  </a:lnTo>
                  <a:lnTo>
                    <a:pt x="1390" y="129"/>
                  </a:lnTo>
                  <a:lnTo>
                    <a:pt x="1256" y="116"/>
                  </a:lnTo>
                  <a:lnTo>
                    <a:pt x="1277" y="87"/>
                  </a:lnTo>
                  <a:lnTo>
                    <a:pt x="1195" y="125"/>
                  </a:lnTo>
                  <a:lnTo>
                    <a:pt x="1131" y="125"/>
                  </a:lnTo>
                  <a:lnTo>
                    <a:pt x="1208" y="65"/>
                  </a:lnTo>
                  <a:lnTo>
                    <a:pt x="1044" y="32"/>
                  </a:lnTo>
                  <a:lnTo>
                    <a:pt x="1023" y="0"/>
                  </a:lnTo>
                  <a:lnTo>
                    <a:pt x="1021" y="21"/>
                  </a:lnTo>
                  <a:lnTo>
                    <a:pt x="66" y="21"/>
                  </a:lnTo>
                  <a:lnTo>
                    <a:pt x="84" y="59"/>
                  </a:lnTo>
                  <a:lnTo>
                    <a:pt x="61" y="90"/>
                  </a:lnTo>
                  <a:lnTo>
                    <a:pt x="68" y="58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2" name="Freeform 174"/>
            <p:cNvSpPr>
              <a:spLocks noChangeAspect="1"/>
            </p:cNvSpPr>
            <p:nvPr/>
          </p:nvSpPr>
          <p:spPr bwMode="gray">
            <a:xfrm>
              <a:off x="2798925" y="5213992"/>
              <a:ext cx="131704" cy="164247"/>
            </a:xfrm>
            <a:custGeom>
              <a:avLst/>
              <a:gdLst>
                <a:gd name="T0" fmla="*/ 0 w 181"/>
                <a:gd name="T1" fmla="*/ 19 h 186"/>
                <a:gd name="T2" fmla="*/ 0 w 181"/>
                <a:gd name="T3" fmla="*/ 1 h 186"/>
                <a:gd name="T4" fmla="*/ 1 w 181"/>
                <a:gd name="T5" fmla="*/ 0 h 186"/>
                <a:gd name="T6" fmla="*/ 4 w 181"/>
                <a:gd name="T7" fmla="*/ 9 h 186"/>
                <a:gd name="T8" fmla="*/ 4 w 181"/>
                <a:gd name="T9" fmla="*/ 13 h 186"/>
                <a:gd name="T10" fmla="*/ 4 w 181"/>
                <a:gd name="T11" fmla="*/ 17 h 186"/>
                <a:gd name="T12" fmla="*/ 3 w 181"/>
                <a:gd name="T13" fmla="*/ 23 h 186"/>
                <a:gd name="T14" fmla="*/ 0 w 181"/>
                <a:gd name="T15" fmla="*/ 19 h 18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1"/>
                <a:gd name="T25" fmla="*/ 0 h 186"/>
                <a:gd name="T26" fmla="*/ 181 w 181"/>
                <a:gd name="T27" fmla="*/ 186 h 18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1" h="186">
                  <a:moveTo>
                    <a:pt x="0" y="151"/>
                  </a:moveTo>
                  <a:lnTo>
                    <a:pt x="29" y="7"/>
                  </a:lnTo>
                  <a:lnTo>
                    <a:pt x="55" y="0"/>
                  </a:lnTo>
                  <a:lnTo>
                    <a:pt x="160" y="72"/>
                  </a:lnTo>
                  <a:lnTo>
                    <a:pt x="181" y="103"/>
                  </a:lnTo>
                  <a:lnTo>
                    <a:pt x="172" y="140"/>
                  </a:lnTo>
                  <a:lnTo>
                    <a:pt x="123" y="186"/>
                  </a:lnTo>
                  <a:lnTo>
                    <a:pt x="0" y="15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3" name="Freeform 175"/>
            <p:cNvSpPr>
              <a:spLocks noChangeAspect="1"/>
            </p:cNvSpPr>
            <p:nvPr/>
          </p:nvSpPr>
          <p:spPr bwMode="gray">
            <a:xfrm>
              <a:off x="2428316" y="3924899"/>
              <a:ext cx="336918" cy="346744"/>
            </a:xfrm>
            <a:custGeom>
              <a:avLst/>
              <a:gdLst>
                <a:gd name="T0" fmla="*/ 0 w 466"/>
                <a:gd name="T1" fmla="*/ 11 h 398"/>
                <a:gd name="T2" fmla="*/ 1 w 466"/>
                <a:gd name="T3" fmla="*/ 18 h 398"/>
                <a:gd name="T4" fmla="*/ 2 w 466"/>
                <a:gd name="T5" fmla="*/ 19 h 398"/>
                <a:gd name="T6" fmla="*/ 3 w 466"/>
                <a:gd name="T7" fmla="*/ 22 h 398"/>
                <a:gd name="T8" fmla="*/ 4 w 466"/>
                <a:gd name="T9" fmla="*/ 21 h 398"/>
                <a:gd name="T10" fmla="*/ 4 w 466"/>
                <a:gd name="T11" fmla="*/ 34 h 398"/>
                <a:gd name="T12" fmla="*/ 4 w 466"/>
                <a:gd name="T13" fmla="*/ 39 h 398"/>
                <a:gd name="T14" fmla="*/ 5 w 466"/>
                <a:gd name="T15" fmla="*/ 40 h 398"/>
                <a:gd name="T16" fmla="*/ 7 w 466"/>
                <a:gd name="T17" fmla="*/ 35 h 398"/>
                <a:gd name="T18" fmla="*/ 6 w 466"/>
                <a:gd name="T19" fmla="*/ 35 h 398"/>
                <a:gd name="T20" fmla="*/ 6 w 466"/>
                <a:gd name="T21" fmla="*/ 28 h 398"/>
                <a:gd name="T22" fmla="*/ 8 w 466"/>
                <a:gd name="T23" fmla="*/ 29 h 398"/>
                <a:gd name="T24" fmla="*/ 9 w 466"/>
                <a:gd name="T25" fmla="*/ 25 h 398"/>
                <a:gd name="T26" fmla="*/ 8 w 466"/>
                <a:gd name="T27" fmla="*/ 22 h 398"/>
                <a:gd name="T28" fmla="*/ 9 w 466"/>
                <a:gd name="T29" fmla="*/ 19 h 398"/>
                <a:gd name="T30" fmla="*/ 9 w 466"/>
                <a:gd name="T31" fmla="*/ 16 h 398"/>
                <a:gd name="T32" fmla="*/ 9 w 466"/>
                <a:gd name="T33" fmla="*/ 14 h 398"/>
                <a:gd name="T34" fmla="*/ 8 w 466"/>
                <a:gd name="T35" fmla="*/ 13 h 398"/>
                <a:gd name="T36" fmla="*/ 8 w 466"/>
                <a:gd name="T37" fmla="*/ 10 h 398"/>
                <a:gd name="T38" fmla="*/ 8 w 466"/>
                <a:gd name="T39" fmla="*/ 7 h 398"/>
                <a:gd name="T40" fmla="*/ 8 w 466"/>
                <a:gd name="T41" fmla="*/ 6 h 398"/>
                <a:gd name="T42" fmla="*/ 4 w 466"/>
                <a:gd name="T43" fmla="*/ 7 h 398"/>
                <a:gd name="T44" fmla="*/ 2 w 466"/>
                <a:gd name="T45" fmla="*/ 0 h 398"/>
                <a:gd name="T46" fmla="*/ 2 w 466"/>
                <a:gd name="T47" fmla="*/ 3 h 398"/>
                <a:gd name="T48" fmla="*/ 1 w 466"/>
                <a:gd name="T49" fmla="*/ 5 h 398"/>
                <a:gd name="T50" fmla="*/ 2 w 466"/>
                <a:gd name="T51" fmla="*/ 10 h 398"/>
                <a:gd name="T52" fmla="*/ 1 w 466"/>
                <a:gd name="T53" fmla="*/ 12 h 398"/>
                <a:gd name="T54" fmla="*/ 1 w 466"/>
                <a:gd name="T55" fmla="*/ 8 h 398"/>
                <a:gd name="T56" fmla="*/ 1 w 466"/>
                <a:gd name="T57" fmla="*/ 2 h 398"/>
                <a:gd name="T58" fmla="*/ 0 w 466"/>
                <a:gd name="T59" fmla="*/ 11 h 39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6"/>
                <a:gd name="T91" fmla="*/ 0 h 398"/>
                <a:gd name="T92" fmla="*/ 466 w 466"/>
                <a:gd name="T93" fmla="*/ 398 h 39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6" h="398">
                  <a:moveTo>
                    <a:pt x="0" y="109"/>
                  </a:moveTo>
                  <a:lnTo>
                    <a:pt x="43" y="178"/>
                  </a:lnTo>
                  <a:lnTo>
                    <a:pt x="111" y="186"/>
                  </a:lnTo>
                  <a:lnTo>
                    <a:pt x="133" y="214"/>
                  </a:lnTo>
                  <a:lnTo>
                    <a:pt x="201" y="211"/>
                  </a:lnTo>
                  <a:lnTo>
                    <a:pt x="191" y="331"/>
                  </a:lnTo>
                  <a:lnTo>
                    <a:pt x="221" y="381"/>
                  </a:lnTo>
                  <a:lnTo>
                    <a:pt x="262" y="398"/>
                  </a:lnTo>
                  <a:lnTo>
                    <a:pt x="345" y="350"/>
                  </a:lnTo>
                  <a:lnTo>
                    <a:pt x="312" y="342"/>
                  </a:lnTo>
                  <a:lnTo>
                    <a:pt x="295" y="277"/>
                  </a:lnTo>
                  <a:lnTo>
                    <a:pt x="355" y="289"/>
                  </a:lnTo>
                  <a:lnTo>
                    <a:pt x="440" y="247"/>
                  </a:lnTo>
                  <a:lnTo>
                    <a:pt x="416" y="214"/>
                  </a:lnTo>
                  <a:lnTo>
                    <a:pt x="447" y="185"/>
                  </a:lnTo>
                  <a:lnTo>
                    <a:pt x="433" y="162"/>
                  </a:lnTo>
                  <a:lnTo>
                    <a:pt x="466" y="137"/>
                  </a:lnTo>
                  <a:lnTo>
                    <a:pt x="424" y="132"/>
                  </a:lnTo>
                  <a:lnTo>
                    <a:pt x="424" y="101"/>
                  </a:lnTo>
                  <a:lnTo>
                    <a:pt x="357" y="66"/>
                  </a:lnTo>
                  <a:lnTo>
                    <a:pt x="388" y="57"/>
                  </a:lnTo>
                  <a:lnTo>
                    <a:pt x="184" y="64"/>
                  </a:lnTo>
                  <a:lnTo>
                    <a:pt x="116" y="0"/>
                  </a:lnTo>
                  <a:lnTo>
                    <a:pt x="119" y="28"/>
                  </a:lnTo>
                  <a:lnTo>
                    <a:pt x="62" y="53"/>
                  </a:lnTo>
                  <a:lnTo>
                    <a:pt x="80" y="101"/>
                  </a:lnTo>
                  <a:lnTo>
                    <a:pt x="58" y="118"/>
                  </a:lnTo>
                  <a:lnTo>
                    <a:pt x="43" y="75"/>
                  </a:lnTo>
                  <a:lnTo>
                    <a:pt x="66" y="17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4" name="Freeform 176"/>
            <p:cNvSpPr>
              <a:spLocks noChangeAspect="1"/>
            </p:cNvSpPr>
            <p:nvPr/>
          </p:nvSpPr>
          <p:spPr bwMode="gray">
            <a:xfrm>
              <a:off x="6812839" y="3588109"/>
              <a:ext cx="176116" cy="451265"/>
            </a:xfrm>
            <a:custGeom>
              <a:avLst/>
              <a:gdLst>
                <a:gd name="T0" fmla="*/ 0 w 242"/>
                <a:gd name="T1" fmla="*/ 3 h 517"/>
                <a:gd name="T2" fmla="*/ 1 w 242"/>
                <a:gd name="T3" fmla="*/ 8 h 517"/>
                <a:gd name="T4" fmla="*/ 2 w 242"/>
                <a:gd name="T5" fmla="*/ 11 h 517"/>
                <a:gd name="T6" fmla="*/ 1 w 242"/>
                <a:gd name="T7" fmla="*/ 15 h 517"/>
                <a:gd name="T8" fmla="*/ 3 w 242"/>
                <a:gd name="T9" fmla="*/ 22 h 517"/>
                <a:gd name="T10" fmla="*/ 4 w 242"/>
                <a:gd name="T11" fmla="*/ 32 h 517"/>
                <a:gd name="T12" fmla="*/ 4 w 242"/>
                <a:gd name="T13" fmla="*/ 40 h 517"/>
                <a:gd name="T14" fmla="*/ 2 w 242"/>
                <a:gd name="T15" fmla="*/ 47 h 517"/>
                <a:gd name="T16" fmla="*/ 2 w 242"/>
                <a:gd name="T17" fmla="*/ 54 h 517"/>
                <a:gd name="T18" fmla="*/ 3 w 242"/>
                <a:gd name="T19" fmla="*/ 49 h 517"/>
                <a:gd name="T20" fmla="*/ 3 w 242"/>
                <a:gd name="T21" fmla="*/ 51 h 517"/>
                <a:gd name="T22" fmla="*/ 4 w 242"/>
                <a:gd name="T23" fmla="*/ 47 h 517"/>
                <a:gd name="T24" fmla="*/ 5 w 242"/>
                <a:gd name="T25" fmla="*/ 42 h 517"/>
                <a:gd name="T26" fmla="*/ 5 w 242"/>
                <a:gd name="T27" fmla="*/ 29 h 517"/>
                <a:gd name="T28" fmla="*/ 3 w 242"/>
                <a:gd name="T29" fmla="*/ 16 h 517"/>
                <a:gd name="T30" fmla="*/ 3 w 242"/>
                <a:gd name="T31" fmla="*/ 13 h 517"/>
                <a:gd name="T32" fmla="*/ 4 w 242"/>
                <a:gd name="T33" fmla="*/ 6 h 517"/>
                <a:gd name="T34" fmla="*/ 2 w 242"/>
                <a:gd name="T35" fmla="*/ 0 h 517"/>
                <a:gd name="T36" fmla="*/ 0 w 242"/>
                <a:gd name="T37" fmla="*/ 3 h 51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42"/>
                <a:gd name="T58" fmla="*/ 0 h 517"/>
                <a:gd name="T59" fmla="*/ 242 w 242"/>
                <a:gd name="T60" fmla="*/ 517 h 51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42" h="517">
                  <a:moveTo>
                    <a:pt x="0" y="26"/>
                  </a:moveTo>
                  <a:lnTo>
                    <a:pt x="36" y="81"/>
                  </a:lnTo>
                  <a:lnTo>
                    <a:pt x="83" y="102"/>
                  </a:lnTo>
                  <a:lnTo>
                    <a:pt x="60" y="142"/>
                  </a:lnTo>
                  <a:lnTo>
                    <a:pt x="144" y="211"/>
                  </a:lnTo>
                  <a:lnTo>
                    <a:pt x="182" y="304"/>
                  </a:lnTo>
                  <a:lnTo>
                    <a:pt x="186" y="383"/>
                  </a:lnTo>
                  <a:lnTo>
                    <a:pt x="82" y="453"/>
                  </a:lnTo>
                  <a:lnTo>
                    <a:pt x="99" y="517"/>
                  </a:lnTo>
                  <a:lnTo>
                    <a:pt x="132" y="471"/>
                  </a:lnTo>
                  <a:lnTo>
                    <a:pt x="150" y="483"/>
                  </a:lnTo>
                  <a:lnTo>
                    <a:pt x="159" y="455"/>
                  </a:lnTo>
                  <a:lnTo>
                    <a:pt x="242" y="408"/>
                  </a:lnTo>
                  <a:lnTo>
                    <a:pt x="230" y="278"/>
                  </a:lnTo>
                  <a:lnTo>
                    <a:pt x="119" y="158"/>
                  </a:lnTo>
                  <a:lnTo>
                    <a:pt x="131" y="119"/>
                  </a:lnTo>
                  <a:lnTo>
                    <a:pt x="198" y="60"/>
                  </a:lnTo>
                  <a:lnTo>
                    <a:pt x="103" y="0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5" name="Freeform 177"/>
            <p:cNvSpPr>
              <a:spLocks noChangeAspect="1"/>
            </p:cNvSpPr>
            <p:nvPr/>
          </p:nvSpPr>
          <p:spPr bwMode="gray">
            <a:xfrm>
              <a:off x="5345716" y="3719175"/>
              <a:ext cx="238905" cy="194111"/>
            </a:xfrm>
            <a:custGeom>
              <a:avLst/>
              <a:gdLst>
                <a:gd name="T0" fmla="*/ 0 w 334"/>
                <a:gd name="T1" fmla="*/ 21 h 224"/>
                <a:gd name="T2" fmla="*/ 1 w 334"/>
                <a:gd name="T3" fmla="*/ 16 h 224"/>
                <a:gd name="T4" fmla="*/ 1 w 334"/>
                <a:gd name="T5" fmla="*/ 14 h 224"/>
                <a:gd name="T6" fmla="*/ 2 w 334"/>
                <a:gd name="T7" fmla="*/ 11 h 224"/>
                <a:gd name="T8" fmla="*/ 3 w 334"/>
                <a:gd name="T9" fmla="*/ 2 h 224"/>
                <a:gd name="T10" fmla="*/ 5 w 334"/>
                <a:gd name="T11" fmla="*/ 0 h 224"/>
                <a:gd name="T12" fmla="*/ 6 w 334"/>
                <a:gd name="T13" fmla="*/ 8 h 224"/>
                <a:gd name="T14" fmla="*/ 5 w 334"/>
                <a:gd name="T15" fmla="*/ 11 h 224"/>
                <a:gd name="T16" fmla="*/ 3 w 334"/>
                <a:gd name="T17" fmla="*/ 17 h 224"/>
                <a:gd name="T18" fmla="*/ 0 w 334"/>
                <a:gd name="T19" fmla="*/ 21 h 2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4"/>
                <a:gd name="T31" fmla="*/ 0 h 224"/>
                <a:gd name="T32" fmla="*/ 334 w 334"/>
                <a:gd name="T33" fmla="*/ 224 h 2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4" h="224">
                  <a:moveTo>
                    <a:pt x="0" y="224"/>
                  </a:moveTo>
                  <a:lnTo>
                    <a:pt x="88" y="175"/>
                  </a:lnTo>
                  <a:lnTo>
                    <a:pt x="72" y="150"/>
                  </a:lnTo>
                  <a:lnTo>
                    <a:pt x="98" y="121"/>
                  </a:lnTo>
                  <a:lnTo>
                    <a:pt x="187" y="24"/>
                  </a:lnTo>
                  <a:lnTo>
                    <a:pt x="298" y="0"/>
                  </a:lnTo>
                  <a:lnTo>
                    <a:pt x="334" y="87"/>
                  </a:lnTo>
                  <a:lnTo>
                    <a:pt x="306" y="121"/>
                  </a:lnTo>
                  <a:lnTo>
                    <a:pt x="179" y="181"/>
                  </a:lnTo>
                  <a:lnTo>
                    <a:pt x="0" y="22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6" name="Freeform 178"/>
            <p:cNvSpPr>
              <a:spLocks noChangeAspect="1"/>
            </p:cNvSpPr>
            <p:nvPr/>
          </p:nvSpPr>
          <p:spPr bwMode="gray">
            <a:xfrm>
              <a:off x="5322745" y="3770606"/>
              <a:ext cx="94950" cy="142680"/>
            </a:xfrm>
            <a:custGeom>
              <a:avLst/>
              <a:gdLst>
                <a:gd name="T0" fmla="*/ 0 w 125"/>
                <a:gd name="T1" fmla="*/ 3 h 164"/>
                <a:gd name="T2" fmla="*/ 1 w 125"/>
                <a:gd name="T3" fmla="*/ 16 h 164"/>
                <a:gd name="T4" fmla="*/ 5 w 125"/>
                <a:gd name="T5" fmla="*/ 12 h 164"/>
                <a:gd name="T6" fmla="*/ 4 w 125"/>
                <a:gd name="T7" fmla="*/ 9 h 164"/>
                <a:gd name="T8" fmla="*/ 5 w 125"/>
                <a:gd name="T9" fmla="*/ 6 h 164"/>
                <a:gd name="T10" fmla="*/ 5 w 125"/>
                <a:gd name="T11" fmla="*/ 2 h 164"/>
                <a:gd name="T12" fmla="*/ 2 w 125"/>
                <a:gd name="T13" fmla="*/ 0 h 164"/>
                <a:gd name="T14" fmla="*/ 0 w 125"/>
                <a:gd name="T15" fmla="*/ 3 h 1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5"/>
                <a:gd name="T25" fmla="*/ 0 h 164"/>
                <a:gd name="T26" fmla="*/ 125 w 125"/>
                <a:gd name="T27" fmla="*/ 164 h 1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5" h="164">
                  <a:moveTo>
                    <a:pt x="0" y="33"/>
                  </a:moveTo>
                  <a:lnTo>
                    <a:pt x="27" y="164"/>
                  </a:lnTo>
                  <a:lnTo>
                    <a:pt x="115" y="115"/>
                  </a:lnTo>
                  <a:lnTo>
                    <a:pt x="99" y="90"/>
                  </a:lnTo>
                  <a:lnTo>
                    <a:pt x="125" y="61"/>
                  </a:lnTo>
                  <a:lnTo>
                    <a:pt x="125" y="24"/>
                  </a:lnTo>
                  <a:lnTo>
                    <a:pt x="6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7" name="Freeform 179"/>
            <p:cNvSpPr>
              <a:spLocks noChangeAspect="1"/>
            </p:cNvSpPr>
            <p:nvPr/>
          </p:nvSpPr>
          <p:spPr bwMode="gray">
            <a:xfrm>
              <a:off x="4601434" y="2778485"/>
              <a:ext cx="231248" cy="222315"/>
            </a:xfrm>
            <a:custGeom>
              <a:avLst/>
              <a:gdLst>
                <a:gd name="T0" fmla="*/ 0 w 325"/>
                <a:gd name="T1" fmla="*/ 6 h 255"/>
                <a:gd name="T2" fmla="*/ 0 w 325"/>
                <a:gd name="T3" fmla="*/ 2 h 255"/>
                <a:gd name="T4" fmla="*/ 1 w 325"/>
                <a:gd name="T5" fmla="*/ 0 h 255"/>
                <a:gd name="T6" fmla="*/ 2 w 325"/>
                <a:gd name="T7" fmla="*/ 5 h 255"/>
                <a:gd name="T8" fmla="*/ 4 w 325"/>
                <a:gd name="T9" fmla="*/ 4 h 255"/>
                <a:gd name="T10" fmla="*/ 5 w 325"/>
                <a:gd name="T11" fmla="*/ 12 h 255"/>
                <a:gd name="T12" fmla="*/ 5 w 325"/>
                <a:gd name="T13" fmla="*/ 20 h 255"/>
                <a:gd name="T14" fmla="*/ 5 w 325"/>
                <a:gd name="T15" fmla="*/ 24 h 255"/>
                <a:gd name="T16" fmla="*/ 4 w 325"/>
                <a:gd name="T17" fmla="*/ 26 h 255"/>
                <a:gd name="T18" fmla="*/ 4 w 325"/>
                <a:gd name="T19" fmla="*/ 19 h 255"/>
                <a:gd name="T20" fmla="*/ 3 w 325"/>
                <a:gd name="T21" fmla="*/ 22 h 255"/>
                <a:gd name="T22" fmla="*/ 1 w 325"/>
                <a:gd name="T23" fmla="*/ 15 h 255"/>
                <a:gd name="T24" fmla="*/ 0 w 325"/>
                <a:gd name="T25" fmla="*/ 7 h 255"/>
                <a:gd name="T26" fmla="*/ 0 w 325"/>
                <a:gd name="T27" fmla="*/ 9 h 255"/>
                <a:gd name="T28" fmla="*/ 0 w 325"/>
                <a:gd name="T29" fmla="*/ 6 h 25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25"/>
                <a:gd name="T46" fmla="*/ 0 h 255"/>
                <a:gd name="T47" fmla="*/ 325 w 325"/>
                <a:gd name="T48" fmla="*/ 255 h 25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25" h="255">
                  <a:moveTo>
                    <a:pt x="0" y="60"/>
                  </a:moveTo>
                  <a:lnTo>
                    <a:pt x="0" y="19"/>
                  </a:lnTo>
                  <a:lnTo>
                    <a:pt x="84" y="0"/>
                  </a:lnTo>
                  <a:lnTo>
                    <a:pt x="151" y="50"/>
                  </a:lnTo>
                  <a:lnTo>
                    <a:pt x="227" y="36"/>
                  </a:lnTo>
                  <a:lnTo>
                    <a:pt x="316" y="116"/>
                  </a:lnTo>
                  <a:lnTo>
                    <a:pt x="304" y="200"/>
                  </a:lnTo>
                  <a:lnTo>
                    <a:pt x="325" y="236"/>
                  </a:lnTo>
                  <a:lnTo>
                    <a:pt x="256" y="255"/>
                  </a:lnTo>
                  <a:lnTo>
                    <a:pt x="224" y="185"/>
                  </a:lnTo>
                  <a:lnTo>
                    <a:pt x="196" y="213"/>
                  </a:lnTo>
                  <a:lnTo>
                    <a:pt x="84" y="145"/>
                  </a:lnTo>
                  <a:lnTo>
                    <a:pt x="30" y="72"/>
                  </a:lnTo>
                  <a:lnTo>
                    <a:pt x="3" y="87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8" name="Freeform 180"/>
            <p:cNvSpPr>
              <a:spLocks noChangeAspect="1"/>
            </p:cNvSpPr>
            <p:nvPr/>
          </p:nvSpPr>
          <p:spPr bwMode="gray">
            <a:xfrm>
              <a:off x="4546303" y="4467413"/>
              <a:ext cx="317009" cy="369971"/>
            </a:xfrm>
            <a:custGeom>
              <a:avLst/>
              <a:gdLst>
                <a:gd name="T0" fmla="*/ 0 w 439"/>
                <a:gd name="T1" fmla="*/ 35 h 429"/>
                <a:gd name="T2" fmla="*/ 1 w 439"/>
                <a:gd name="T3" fmla="*/ 34 h 429"/>
                <a:gd name="T4" fmla="*/ 7 w 439"/>
                <a:gd name="T5" fmla="*/ 37 h 429"/>
                <a:gd name="T6" fmla="*/ 8 w 439"/>
                <a:gd name="T7" fmla="*/ 36 h 429"/>
                <a:gd name="T8" fmla="*/ 8 w 439"/>
                <a:gd name="T9" fmla="*/ 33 h 429"/>
                <a:gd name="T10" fmla="*/ 8 w 439"/>
                <a:gd name="T11" fmla="*/ 22 h 429"/>
                <a:gd name="T12" fmla="*/ 9 w 439"/>
                <a:gd name="T13" fmla="*/ 22 h 429"/>
                <a:gd name="T14" fmla="*/ 8 w 439"/>
                <a:gd name="T15" fmla="*/ 16 h 429"/>
                <a:gd name="T16" fmla="*/ 8 w 439"/>
                <a:gd name="T17" fmla="*/ 16 h 429"/>
                <a:gd name="T18" fmla="*/ 7 w 439"/>
                <a:gd name="T19" fmla="*/ 5 h 429"/>
                <a:gd name="T20" fmla="*/ 7 w 439"/>
                <a:gd name="T21" fmla="*/ 3 h 429"/>
                <a:gd name="T22" fmla="*/ 6 w 439"/>
                <a:gd name="T23" fmla="*/ 3 h 429"/>
                <a:gd name="T24" fmla="*/ 5 w 439"/>
                <a:gd name="T25" fmla="*/ 6 h 429"/>
                <a:gd name="T26" fmla="*/ 4 w 439"/>
                <a:gd name="T27" fmla="*/ 7 h 429"/>
                <a:gd name="T28" fmla="*/ 3 w 439"/>
                <a:gd name="T29" fmla="*/ 0 h 429"/>
                <a:gd name="T30" fmla="*/ 0 w 439"/>
                <a:gd name="T31" fmla="*/ 2 h 429"/>
                <a:gd name="T32" fmla="*/ 1 w 439"/>
                <a:gd name="T33" fmla="*/ 16 h 429"/>
                <a:gd name="T34" fmla="*/ 0 w 439"/>
                <a:gd name="T35" fmla="*/ 35 h 4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39"/>
                <a:gd name="T55" fmla="*/ 0 h 429"/>
                <a:gd name="T56" fmla="*/ 439 w 439"/>
                <a:gd name="T57" fmla="*/ 429 h 4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39" h="429">
                  <a:moveTo>
                    <a:pt x="0" y="402"/>
                  </a:moveTo>
                  <a:lnTo>
                    <a:pt x="58" y="388"/>
                  </a:lnTo>
                  <a:lnTo>
                    <a:pt x="340" y="429"/>
                  </a:lnTo>
                  <a:lnTo>
                    <a:pt x="405" y="411"/>
                  </a:lnTo>
                  <a:lnTo>
                    <a:pt x="362" y="378"/>
                  </a:lnTo>
                  <a:lnTo>
                    <a:pt x="362" y="248"/>
                  </a:lnTo>
                  <a:lnTo>
                    <a:pt x="439" y="248"/>
                  </a:lnTo>
                  <a:lnTo>
                    <a:pt x="433" y="176"/>
                  </a:lnTo>
                  <a:lnTo>
                    <a:pt x="362" y="183"/>
                  </a:lnTo>
                  <a:lnTo>
                    <a:pt x="355" y="60"/>
                  </a:lnTo>
                  <a:lnTo>
                    <a:pt x="322" y="37"/>
                  </a:lnTo>
                  <a:lnTo>
                    <a:pt x="278" y="39"/>
                  </a:lnTo>
                  <a:lnTo>
                    <a:pt x="267" y="76"/>
                  </a:lnTo>
                  <a:lnTo>
                    <a:pt x="218" y="80"/>
                  </a:lnTo>
                  <a:lnTo>
                    <a:pt x="160" y="0"/>
                  </a:lnTo>
                  <a:lnTo>
                    <a:pt x="28" y="17"/>
                  </a:lnTo>
                  <a:lnTo>
                    <a:pt x="76" y="180"/>
                  </a:lnTo>
                  <a:lnTo>
                    <a:pt x="0" y="40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79" name="Freeform 181"/>
            <p:cNvSpPr>
              <a:spLocks noChangeAspect="1"/>
            </p:cNvSpPr>
            <p:nvPr/>
          </p:nvSpPr>
          <p:spPr bwMode="gray">
            <a:xfrm>
              <a:off x="4558554" y="4432573"/>
              <a:ext cx="26035" cy="34840"/>
            </a:xfrm>
            <a:custGeom>
              <a:avLst/>
              <a:gdLst>
                <a:gd name="T0" fmla="*/ 0 w 35"/>
                <a:gd name="T1" fmla="*/ 2 h 38"/>
                <a:gd name="T2" fmla="*/ 0 w 35"/>
                <a:gd name="T3" fmla="*/ 8 h 38"/>
                <a:gd name="T4" fmla="*/ 1 w 35"/>
                <a:gd name="T5" fmla="*/ 0 h 38"/>
                <a:gd name="T6" fmla="*/ 0 w 35"/>
                <a:gd name="T7" fmla="*/ 2 h 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5"/>
                <a:gd name="T13" fmla="*/ 0 h 38"/>
                <a:gd name="T14" fmla="*/ 35 w 35"/>
                <a:gd name="T15" fmla="*/ 38 h 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" h="38">
                  <a:moveTo>
                    <a:pt x="0" y="12"/>
                  </a:moveTo>
                  <a:lnTo>
                    <a:pt x="12" y="38"/>
                  </a:lnTo>
                  <a:lnTo>
                    <a:pt x="35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0" name="Freeform 182"/>
            <p:cNvSpPr>
              <a:spLocks noChangeAspect="1"/>
            </p:cNvSpPr>
            <p:nvPr/>
          </p:nvSpPr>
          <p:spPr bwMode="gray">
            <a:xfrm>
              <a:off x="4757642" y="4829089"/>
              <a:ext cx="235842" cy="277064"/>
            </a:xfrm>
            <a:custGeom>
              <a:avLst/>
              <a:gdLst>
                <a:gd name="T0" fmla="*/ 0 w 326"/>
                <a:gd name="T1" fmla="*/ 21 h 322"/>
                <a:gd name="T2" fmla="*/ 0 w 326"/>
                <a:gd name="T3" fmla="*/ 12 h 322"/>
                <a:gd name="T4" fmla="*/ 0 w 326"/>
                <a:gd name="T5" fmla="*/ 12 h 322"/>
                <a:gd name="T6" fmla="*/ 0 w 326"/>
                <a:gd name="T7" fmla="*/ 2 h 322"/>
                <a:gd name="T8" fmla="*/ 2 w 326"/>
                <a:gd name="T9" fmla="*/ 1 h 322"/>
                <a:gd name="T10" fmla="*/ 2 w 326"/>
                <a:gd name="T11" fmla="*/ 3 h 322"/>
                <a:gd name="T12" fmla="*/ 4 w 326"/>
                <a:gd name="T13" fmla="*/ 0 h 322"/>
                <a:gd name="T14" fmla="*/ 6 w 326"/>
                <a:gd name="T15" fmla="*/ 11 h 322"/>
                <a:gd name="T16" fmla="*/ 7 w 326"/>
                <a:gd name="T17" fmla="*/ 13 h 322"/>
                <a:gd name="T18" fmla="*/ 4 w 326"/>
                <a:gd name="T19" fmla="*/ 23 h 322"/>
                <a:gd name="T20" fmla="*/ 2 w 326"/>
                <a:gd name="T21" fmla="*/ 23 h 322"/>
                <a:gd name="T22" fmla="*/ 1 w 326"/>
                <a:gd name="T23" fmla="*/ 27 h 322"/>
                <a:gd name="T24" fmla="*/ 0 w 326"/>
                <a:gd name="T25" fmla="*/ 27 h 322"/>
                <a:gd name="T26" fmla="*/ 0 w 326"/>
                <a:gd name="T27" fmla="*/ 24 h 322"/>
                <a:gd name="T28" fmla="*/ 0 w 326"/>
                <a:gd name="T29" fmla="*/ 21 h 3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26"/>
                <a:gd name="T46" fmla="*/ 0 h 322"/>
                <a:gd name="T47" fmla="*/ 326 w 326"/>
                <a:gd name="T48" fmla="*/ 322 h 3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26" h="322">
                  <a:moveTo>
                    <a:pt x="0" y="248"/>
                  </a:moveTo>
                  <a:lnTo>
                    <a:pt x="0" y="151"/>
                  </a:lnTo>
                  <a:lnTo>
                    <a:pt x="36" y="150"/>
                  </a:lnTo>
                  <a:lnTo>
                    <a:pt x="36" y="25"/>
                  </a:lnTo>
                  <a:lnTo>
                    <a:pt x="102" y="10"/>
                  </a:lnTo>
                  <a:lnTo>
                    <a:pt x="124" y="32"/>
                  </a:lnTo>
                  <a:lnTo>
                    <a:pt x="182" y="0"/>
                  </a:lnTo>
                  <a:lnTo>
                    <a:pt x="279" y="134"/>
                  </a:lnTo>
                  <a:lnTo>
                    <a:pt x="326" y="157"/>
                  </a:lnTo>
                  <a:lnTo>
                    <a:pt x="194" y="278"/>
                  </a:lnTo>
                  <a:lnTo>
                    <a:pt x="118" y="278"/>
                  </a:lnTo>
                  <a:lnTo>
                    <a:pt x="77" y="321"/>
                  </a:lnTo>
                  <a:lnTo>
                    <a:pt x="29" y="322"/>
                  </a:lnTo>
                  <a:lnTo>
                    <a:pt x="30" y="284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1" name="Freeform 183"/>
            <p:cNvSpPr>
              <a:spLocks noChangeAspect="1"/>
            </p:cNvSpPr>
            <p:nvPr/>
          </p:nvSpPr>
          <p:spPr bwMode="gray">
            <a:xfrm>
              <a:off x="4985827" y="4362892"/>
              <a:ext cx="42880" cy="61385"/>
            </a:xfrm>
            <a:custGeom>
              <a:avLst/>
              <a:gdLst>
                <a:gd name="T0" fmla="*/ 0 w 60"/>
                <a:gd name="T1" fmla="*/ 2 h 69"/>
                <a:gd name="T2" fmla="*/ 0 w 60"/>
                <a:gd name="T3" fmla="*/ 5 h 69"/>
                <a:gd name="T4" fmla="*/ 0 w 60"/>
                <a:gd name="T5" fmla="*/ 10 h 69"/>
                <a:gd name="T6" fmla="*/ 1 w 60"/>
                <a:gd name="T7" fmla="*/ 4 h 69"/>
                <a:gd name="T8" fmla="*/ 1 w 60"/>
                <a:gd name="T9" fmla="*/ 0 h 69"/>
                <a:gd name="T10" fmla="*/ 0 w 60"/>
                <a:gd name="T11" fmla="*/ 2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0"/>
                <a:gd name="T19" fmla="*/ 0 h 69"/>
                <a:gd name="T20" fmla="*/ 60 w 60"/>
                <a:gd name="T21" fmla="*/ 69 h 6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0" h="69">
                  <a:moveTo>
                    <a:pt x="0" y="10"/>
                  </a:moveTo>
                  <a:lnTo>
                    <a:pt x="7" y="36"/>
                  </a:lnTo>
                  <a:lnTo>
                    <a:pt x="22" y="69"/>
                  </a:lnTo>
                  <a:lnTo>
                    <a:pt x="60" y="29"/>
                  </a:lnTo>
                  <a:lnTo>
                    <a:pt x="58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2" name="Freeform 184"/>
            <p:cNvSpPr>
              <a:spLocks noChangeAspect="1"/>
            </p:cNvSpPr>
            <p:nvPr/>
          </p:nvSpPr>
          <p:spPr bwMode="gray">
            <a:xfrm>
              <a:off x="4469730" y="3909967"/>
              <a:ext cx="191430" cy="335131"/>
            </a:xfrm>
            <a:custGeom>
              <a:avLst/>
              <a:gdLst>
                <a:gd name="T0" fmla="*/ 0 w 268"/>
                <a:gd name="T1" fmla="*/ 24 h 389"/>
                <a:gd name="T2" fmla="*/ 0 w 268"/>
                <a:gd name="T3" fmla="*/ 18 h 389"/>
                <a:gd name="T4" fmla="*/ 2 w 268"/>
                <a:gd name="T5" fmla="*/ 18 h 389"/>
                <a:gd name="T6" fmla="*/ 3 w 268"/>
                <a:gd name="T7" fmla="*/ 5 h 389"/>
                <a:gd name="T8" fmla="*/ 3 w 268"/>
                <a:gd name="T9" fmla="*/ 3 h 389"/>
                <a:gd name="T10" fmla="*/ 3 w 268"/>
                <a:gd name="T11" fmla="*/ 1 h 389"/>
                <a:gd name="T12" fmla="*/ 4 w 268"/>
                <a:gd name="T13" fmla="*/ 0 h 389"/>
                <a:gd name="T14" fmla="*/ 4 w 268"/>
                <a:gd name="T15" fmla="*/ 8 h 389"/>
                <a:gd name="T16" fmla="*/ 3 w 268"/>
                <a:gd name="T17" fmla="*/ 9 h 389"/>
                <a:gd name="T18" fmla="*/ 4 w 268"/>
                <a:gd name="T19" fmla="*/ 16 h 389"/>
                <a:gd name="T20" fmla="*/ 4 w 268"/>
                <a:gd name="T21" fmla="*/ 23 h 389"/>
                <a:gd name="T22" fmla="*/ 5 w 268"/>
                <a:gd name="T23" fmla="*/ 29 h 389"/>
                <a:gd name="T24" fmla="*/ 5 w 268"/>
                <a:gd name="T25" fmla="*/ 33 h 389"/>
                <a:gd name="T26" fmla="*/ 3 w 268"/>
                <a:gd name="T27" fmla="*/ 31 h 389"/>
                <a:gd name="T28" fmla="*/ 2 w 268"/>
                <a:gd name="T29" fmla="*/ 31 h 389"/>
                <a:gd name="T30" fmla="*/ 0 w 268"/>
                <a:gd name="T31" fmla="*/ 31 h 389"/>
                <a:gd name="T32" fmla="*/ 0 w 268"/>
                <a:gd name="T33" fmla="*/ 26 h 389"/>
                <a:gd name="T34" fmla="*/ 0 w 268"/>
                <a:gd name="T35" fmla="*/ 24 h 38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68"/>
                <a:gd name="T55" fmla="*/ 0 h 389"/>
                <a:gd name="T56" fmla="*/ 268 w 268"/>
                <a:gd name="T57" fmla="*/ 389 h 38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68" h="389">
                  <a:moveTo>
                    <a:pt x="0" y="278"/>
                  </a:moveTo>
                  <a:lnTo>
                    <a:pt x="38" y="204"/>
                  </a:lnTo>
                  <a:lnTo>
                    <a:pt x="103" y="214"/>
                  </a:lnTo>
                  <a:lnTo>
                    <a:pt x="175" y="63"/>
                  </a:lnTo>
                  <a:lnTo>
                    <a:pt x="210" y="36"/>
                  </a:lnTo>
                  <a:lnTo>
                    <a:pt x="196" y="6"/>
                  </a:lnTo>
                  <a:lnTo>
                    <a:pt x="213" y="0"/>
                  </a:lnTo>
                  <a:lnTo>
                    <a:pt x="238" y="94"/>
                  </a:lnTo>
                  <a:lnTo>
                    <a:pt x="196" y="111"/>
                  </a:lnTo>
                  <a:lnTo>
                    <a:pt x="245" y="186"/>
                  </a:lnTo>
                  <a:lnTo>
                    <a:pt x="213" y="274"/>
                  </a:lnTo>
                  <a:lnTo>
                    <a:pt x="268" y="341"/>
                  </a:lnTo>
                  <a:lnTo>
                    <a:pt x="262" y="389"/>
                  </a:lnTo>
                  <a:lnTo>
                    <a:pt x="170" y="367"/>
                  </a:lnTo>
                  <a:lnTo>
                    <a:pt x="100" y="366"/>
                  </a:lnTo>
                  <a:lnTo>
                    <a:pt x="43" y="367"/>
                  </a:lnTo>
                  <a:lnTo>
                    <a:pt x="42" y="303"/>
                  </a:lnTo>
                  <a:lnTo>
                    <a:pt x="0" y="27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3" name="Freeform 185"/>
            <p:cNvSpPr>
              <a:spLocks noChangeAspect="1"/>
            </p:cNvSpPr>
            <p:nvPr/>
          </p:nvSpPr>
          <p:spPr bwMode="gray">
            <a:xfrm>
              <a:off x="4621343" y="3964716"/>
              <a:ext cx="326198" cy="240564"/>
            </a:xfrm>
            <a:custGeom>
              <a:avLst/>
              <a:gdLst>
                <a:gd name="T0" fmla="*/ 0 w 454"/>
                <a:gd name="T1" fmla="*/ 18 h 280"/>
                <a:gd name="T2" fmla="*/ 0 w 454"/>
                <a:gd name="T3" fmla="*/ 10 h 280"/>
                <a:gd name="T4" fmla="*/ 3 w 454"/>
                <a:gd name="T5" fmla="*/ 8 h 280"/>
                <a:gd name="T6" fmla="*/ 3 w 454"/>
                <a:gd name="T7" fmla="*/ 6 h 280"/>
                <a:gd name="T8" fmla="*/ 4 w 454"/>
                <a:gd name="T9" fmla="*/ 5 h 280"/>
                <a:gd name="T10" fmla="*/ 5 w 454"/>
                <a:gd name="T11" fmla="*/ 0 h 280"/>
                <a:gd name="T12" fmla="*/ 6 w 454"/>
                <a:gd name="T13" fmla="*/ 6 h 280"/>
                <a:gd name="T14" fmla="*/ 7 w 454"/>
                <a:gd name="T15" fmla="*/ 8 h 280"/>
                <a:gd name="T16" fmla="*/ 8 w 454"/>
                <a:gd name="T17" fmla="*/ 17 h 280"/>
                <a:gd name="T18" fmla="*/ 5 w 454"/>
                <a:gd name="T19" fmla="*/ 19 h 280"/>
                <a:gd name="T20" fmla="*/ 3 w 454"/>
                <a:gd name="T21" fmla="*/ 17 h 280"/>
                <a:gd name="T22" fmla="*/ 3 w 454"/>
                <a:gd name="T23" fmla="*/ 21 h 280"/>
                <a:gd name="T24" fmla="*/ 1 w 454"/>
                <a:gd name="T25" fmla="*/ 21 h 280"/>
                <a:gd name="T26" fmla="*/ 1 w 454"/>
                <a:gd name="T27" fmla="*/ 23 h 280"/>
                <a:gd name="T28" fmla="*/ 0 w 454"/>
                <a:gd name="T29" fmla="*/ 18 h 28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54"/>
                <a:gd name="T46" fmla="*/ 0 h 280"/>
                <a:gd name="T47" fmla="*/ 454 w 454"/>
                <a:gd name="T48" fmla="*/ 280 h 28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54" h="280">
                  <a:moveTo>
                    <a:pt x="0" y="213"/>
                  </a:moveTo>
                  <a:lnTo>
                    <a:pt x="32" y="125"/>
                  </a:lnTo>
                  <a:lnTo>
                    <a:pt x="144" y="102"/>
                  </a:lnTo>
                  <a:lnTo>
                    <a:pt x="156" y="74"/>
                  </a:lnTo>
                  <a:lnTo>
                    <a:pt x="208" y="64"/>
                  </a:lnTo>
                  <a:lnTo>
                    <a:pt x="285" y="0"/>
                  </a:lnTo>
                  <a:lnTo>
                    <a:pt x="310" y="75"/>
                  </a:lnTo>
                  <a:lnTo>
                    <a:pt x="369" y="102"/>
                  </a:lnTo>
                  <a:lnTo>
                    <a:pt x="454" y="203"/>
                  </a:lnTo>
                  <a:lnTo>
                    <a:pt x="243" y="233"/>
                  </a:lnTo>
                  <a:lnTo>
                    <a:pt x="175" y="203"/>
                  </a:lnTo>
                  <a:lnTo>
                    <a:pt x="144" y="253"/>
                  </a:lnTo>
                  <a:lnTo>
                    <a:pt x="84" y="253"/>
                  </a:lnTo>
                  <a:lnTo>
                    <a:pt x="55" y="280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4" name="Freeform 186"/>
            <p:cNvSpPr>
              <a:spLocks noChangeAspect="1"/>
            </p:cNvSpPr>
            <p:nvPr/>
          </p:nvSpPr>
          <p:spPr bwMode="gray">
            <a:xfrm>
              <a:off x="4595309" y="3579814"/>
              <a:ext cx="266471" cy="491083"/>
            </a:xfrm>
            <a:custGeom>
              <a:avLst/>
              <a:gdLst>
                <a:gd name="T0" fmla="*/ 0 w 371"/>
                <a:gd name="T1" fmla="*/ 30 h 567"/>
                <a:gd name="T2" fmla="*/ 1 w 371"/>
                <a:gd name="T3" fmla="*/ 33 h 567"/>
                <a:gd name="T4" fmla="*/ 0 w 371"/>
                <a:gd name="T5" fmla="*/ 35 h 567"/>
                <a:gd name="T6" fmla="*/ 1 w 371"/>
                <a:gd name="T7" fmla="*/ 44 h 567"/>
                <a:gd name="T8" fmla="*/ 0 w 371"/>
                <a:gd name="T9" fmla="*/ 45 h 567"/>
                <a:gd name="T10" fmla="*/ 1 w 371"/>
                <a:gd name="T11" fmla="*/ 53 h 567"/>
                <a:gd name="T12" fmla="*/ 3 w 371"/>
                <a:gd name="T13" fmla="*/ 51 h 567"/>
                <a:gd name="T14" fmla="*/ 4 w 371"/>
                <a:gd name="T15" fmla="*/ 48 h 567"/>
                <a:gd name="T16" fmla="*/ 5 w 371"/>
                <a:gd name="T17" fmla="*/ 47 h 567"/>
                <a:gd name="T18" fmla="*/ 6 w 371"/>
                <a:gd name="T19" fmla="*/ 41 h 567"/>
                <a:gd name="T20" fmla="*/ 6 w 371"/>
                <a:gd name="T21" fmla="*/ 34 h 567"/>
                <a:gd name="T22" fmla="*/ 6 w 371"/>
                <a:gd name="T23" fmla="*/ 26 h 567"/>
                <a:gd name="T24" fmla="*/ 7 w 371"/>
                <a:gd name="T25" fmla="*/ 26 h 567"/>
                <a:gd name="T26" fmla="*/ 7 w 371"/>
                <a:gd name="T27" fmla="*/ 14 h 567"/>
                <a:gd name="T28" fmla="*/ 2 w 371"/>
                <a:gd name="T29" fmla="*/ 0 h 567"/>
                <a:gd name="T30" fmla="*/ 1 w 371"/>
                <a:gd name="T31" fmla="*/ 2 h 567"/>
                <a:gd name="T32" fmla="*/ 1 w 371"/>
                <a:gd name="T33" fmla="*/ 6 h 567"/>
                <a:gd name="T34" fmla="*/ 2 w 371"/>
                <a:gd name="T35" fmla="*/ 10 h 567"/>
                <a:gd name="T36" fmla="*/ 1 w 371"/>
                <a:gd name="T37" fmla="*/ 21 h 567"/>
                <a:gd name="T38" fmla="*/ 0 w 371"/>
                <a:gd name="T39" fmla="*/ 3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71"/>
                <a:gd name="T61" fmla="*/ 0 h 567"/>
                <a:gd name="T62" fmla="*/ 371 w 371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71" h="567">
                  <a:moveTo>
                    <a:pt x="0" y="324"/>
                  </a:moveTo>
                  <a:lnTo>
                    <a:pt x="53" y="353"/>
                  </a:lnTo>
                  <a:lnTo>
                    <a:pt x="39" y="381"/>
                  </a:lnTo>
                  <a:lnTo>
                    <a:pt x="64" y="475"/>
                  </a:lnTo>
                  <a:lnTo>
                    <a:pt x="22" y="492"/>
                  </a:lnTo>
                  <a:lnTo>
                    <a:pt x="71" y="567"/>
                  </a:lnTo>
                  <a:lnTo>
                    <a:pt x="183" y="544"/>
                  </a:lnTo>
                  <a:lnTo>
                    <a:pt x="195" y="516"/>
                  </a:lnTo>
                  <a:lnTo>
                    <a:pt x="247" y="506"/>
                  </a:lnTo>
                  <a:lnTo>
                    <a:pt x="324" y="442"/>
                  </a:lnTo>
                  <a:lnTo>
                    <a:pt x="297" y="374"/>
                  </a:lnTo>
                  <a:lnTo>
                    <a:pt x="334" y="281"/>
                  </a:lnTo>
                  <a:lnTo>
                    <a:pt x="369" y="274"/>
                  </a:lnTo>
                  <a:lnTo>
                    <a:pt x="371" y="143"/>
                  </a:lnTo>
                  <a:lnTo>
                    <a:pt x="93" y="0"/>
                  </a:lnTo>
                  <a:lnTo>
                    <a:pt x="56" y="14"/>
                  </a:lnTo>
                  <a:lnTo>
                    <a:pt x="56" y="69"/>
                  </a:lnTo>
                  <a:lnTo>
                    <a:pt x="93" y="108"/>
                  </a:lnTo>
                  <a:lnTo>
                    <a:pt x="71" y="233"/>
                  </a:lnTo>
                  <a:lnTo>
                    <a:pt x="0" y="32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5" name="Freeform 187"/>
            <p:cNvSpPr>
              <a:spLocks noChangeAspect="1"/>
            </p:cNvSpPr>
            <p:nvPr/>
          </p:nvSpPr>
          <p:spPr bwMode="gray">
            <a:xfrm>
              <a:off x="4538645" y="4182054"/>
              <a:ext cx="186836" cy="260473"/>
            </a:xfrm>
            <a:custGeom>
              <a:avLst/>
              <a:gdLst>
                <a:gd name="T0" fmla="*/ 0 w 260"/>
                <a:gd name="T1" fmla="*/ 24 h 301"/>
                <a:gd name="T2" fmla="*/ 0 w 260"/>
                <a:gd name="T3" fmla="*/ 28 h 301"/>
                <a:gd name="T4" fmla="*/ 1 w 260"/>
                <a:gd name="T5" fmla="*/ 27 h 301"/>
                <a:gd name="T6" fmla="*/ 2 w 260"/>
                <a:gd name="T7" fmla="*/ 27 h 301"/>
                <a:gd name="T8" fmla="*/ 3 w 260"/>
                <a:gd name="T9" fmla="*/ 24 h 301"/>
                <a:gd name="T10" fmla="*/ 3 w 260"/>
                <a:gd name="T11" fmla="*/ 18 h 301"/>
                <a:gd name="T12" fmla="*/ 4 w 260"/>
                <a:gd name="T13" fmla="*/ 14 h 301"/>
                <a:gd name="T14" fmla="*/ 5 w 260"/>
                <a:gd name="T15" fmla="*/ 0 h 301"/>
                <a:gd name="T16" fmla="*/ 4 w 260"/>
                <a:gd name="T17" fmla="*/ 0 h 301"/>
                <a:gd name="T18" fmla="*/ 3 w 260"/>
                <a:gd name="T19" fmla="*/ 3 h 301"/>
                <a:gd name="T20" fmla="*/ 3 w 260"/>
                <a:gd name="T21" fmla="*/ 7 h 301"/>
                <a:gd name="T22" fmla="*/ 1 w 260"/>
                <a:gd name="T23" fmla="*/ 5 h 301"/>
                <a:gd name="T24" fmla="*/ 1 w 260"/>
                <a:gd name="T25" fmla="*/ 8 h 301"/>
                <a:gd name="T26" fmla="*/ 2 w 260"/>
                <a:gd name="T27" fmla="*/ 8 h 301"/>
                <a:gd name="T28" fmla="*/ 2 w 260"/>
                <a:gd name="T29" fmla="*/ 19 h 301"/>
                <a:gd name="T30" fmla="*/ 1 w 260"/>
                <a:gd name="T31" fmla="*/ 18 h 301"/>
                <a:gd name="T32" fmla="*/ 0 w 260"/>
                <a:gd name="T33" fmla="*/ 24 h 30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60"/>
                <a:gd name="T52" fmla="*/ 0 h 301"/>
                <a:gd name="T53" fmla="*/ 260 w 260"/>
                <a:gd name="T54" fmla="*/ 301 h 30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60" h="301">
                  <a:moveTo>
                    <a:pt x="0" y="263"/>
                  </a:moveTo>
                  <a:lnTo>
                    <a:pt x="27" y="301"/>
                  </a:lnTo>
                  <a:lnTo>
                    <a:pt x="62" y="289"/>
                  </a:lnTo>
                  <a:lnTo>
                    <a:pt x="115" y="293"/>
                  </a:lnTo>
                  <a:lnTo>
                    <a:pt x="163" y="261"/>
                  </a:lnTo>
                  <a:lnTo>
                    <a:pt x="177" y="201"/>
                  </a:lnTo>
                  <a:lnTo>
                    <a:pt x="228" y="151"/>
                  </a:lnTo>
                  <a:lnTo>
                    <a:pt x="260" y="0"/>
                  </a:lnTo>
                  <a:lnTo>
                    <a:pt x="200" y="0"/>
                  </a:lnTo>
                  <a:lnTo>
                    <a:pt x="171" y="27"/>
                  </a:lnTo>
                  <a:lnTo>
                    <a:pt x="165" y="75"/>
                  </a:lnTo>
                  <a:lnTo>
                    <a:pt x="73" y="53"/>
                  </a:lnTo>
                  <a:lnTo>
                    <a:pt x="71" y="85"/>
                  </a:lnTo>
                  <a:lnTo>
                    <a:pt x="107" y="87"/>
                  </a:lnTo>
                  <a:lnTo>
                    <a:pt x="96" y="206"/>
                  </a:lnTo>
                  <a:lnTo>
                    <a:pt x="51" y="192"/>
                  </a:lnTo>
                  <a:lnTo>
                    <a:pt x="0" y="26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6" name="Freeform 188"/>
            <p:cNvSpPr>
              <a:spLocks noChangeAspect="1"/>
            </p:cNvSpPr>
            <p:nvPr/>
          </p:nvSpPr>
          <p:spPr bwMode="gray">
            <a:xfrm>
              <a:off x="4566211" y="4137259"/>
              <a:ext cx="474748" cy="554127"/>
            </a:xfrm>
            <a:custGeom>
              <a:avLst/>
              <a:gdLst>
                <a:gd name="T0" fmla="*/ 0 w 659"/>
                <a:gd name="T1" fmla="*/ 39 h 635"/>
                <a:gd name="T2" fmla="*/ 0 w 659"/>
                <a:gd name="T3" fmla="*/ 41 h 635"/>
                <a:gd name="T4" fmla="*/ 3 w 659"/>
                <a:gd name="T5" fmla="*/ 39 h 635"/>
                <a:gd name="T6" fmla="*/ 4 w 659"/>
                <a:gd name="T7" fmla="*/ 47 h 635"/>
                <a:gd name="T8" fmla="*/ 5 w 659"/>
                <a:gd name="T9" fmla="*/ 47 h 635"/>
                <a:gd name="T10" fmla="*/ 5 w 659"/>
                <a:gd name="T11" fmla="*/ 43 h 635"/>
                <a:gd name="T12" fmla="*/ 6 w 659"/>
                <a:gd name="T13" fmla="*/ 43 h 635"/>
                <a:gd name="T14" fmla="*/ 7 w 659"/>
                <a:gd name="T15" fmla="*/ 45 h 635"/>
                <a:gd name="T16" fmla="*/ 7 w 659"/>
                <a:gd name="T17" fmla="*/ 58 h 635"/>
                <a:gd name="T18" fmla="*/ 8 w 659"/>
                <a:gd name="T19" fmla="*/ 57 h 635"/>
                <a:gd name="T20" fmla="*/ 12 w 659"/>
                <a:gd name="T21" fmla="*/ 66 h 635"/>
                <a:gd name="T22" fmla="*/ 12 w 659"/>
                <a:gd name="T23" fmla="*/ 62 h 635"/>
                <a:gd name="T24" fmla="*/ 11 w 659"/>
                <a:gd name="T25" fmla="*/ 60 h 635"/>
                <a:gd name="T26" fmla="*/ 11 w 659"/>
                <a:gd name="T27" fmla="*/ 51 h 635"/>
                <a:gd name="T28" fmla="*/ 12 w 659"/>
                <a:gd name="T29" fmla="*/ 47 h 635"/>
                <a:gd name="T30" fmla="*/ 11 w 659"/>
                <a:gd name="T31" fmla="*/ 41 h 635"/>
                <a:gd name="T32" fmla="*/ 11 w 659"/>
                <a:gd name="T33" fmla="*/ 31 h 635"/>
                <a:gd name="T34" fmla="*/ 11 w 659"/>
                <a:gd name="T35" fmla="*/ 28 h 635"/>
                <a:gd name="T36" fmla="*/ 12 w 659"/>
                <a:gd name="T37" fmla="*/ 23 h 635"/>
                <a:gd name="T38" fmla="*/ 12 w 659"/>
                <a:gd name="T39" fmla="*/ 14 h 635"/>
                <a:gd name="T40" fmla="*/ 13 w 659"/>
                <a:gd name="T41" fmla="*/ 11 h 635"/>
                <a:gd name="T42" fmla="*/ 12 w 659"/>
                <a:gd name="T43" fmla="*/ 5 h 635"/>
                <a:gd name="T44" fmla="*/ 10 w 659"/>
                <a:gd name="T45" fmla="*/ 0 h 635"/>
                <a:gd name="T46" fmla="*/ 6 w 659"/>
                <a:gd name="T47" fmla="*/ 3 h 635"/>
                <a:gd name="T48" fmla="*/ 5 w 659"/>
                <a:gd name="T49" fmla="*/ 0 h 635"/>
                <a:gd name="T50" fmla="*/ 4 w 659"/>
                <a:gd name="T51" fmla="*/ 5 h 635"/>
                <a:gd name="T52" fmla="*/ 4 w 659"/>
                <a:gd name="T53" fmla="*/ 21 h 635"/>
                <a:gd name="T54" fmla="*/ 3 w 659"/>
                <a:gd name="T55" fmla="*/ 26 h 635"/>
                <a:gd name="T56" fmla="*/ 2 w 659"/>
                <a:gd name="T57" fmla="*/ 32 h 635"/>
                <a:gd name="T58" fmla="*/ 1 w 659"/>
                <a:gd name="T59" fmla="*/ 35 h 635"/>
                <a:gd name="T60" fmla="*/ 0 w 659"/>
                <a:gd name="T61" fmla="*/ 35 h 635"/>
                <a:gd name="T62" fmla="*/ 0 w 659"/>
                <a:gd name="T63" fmla="*/ 39 h 6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59"/>
                <a:gd name="T97" fmla="*/ 0 h 635"/>
                <a:gd name="T98" fmla="*/ 659 w 659"/>
                <a:gd name="T99" fmla="*/ 635 h 6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59" h="635">
                  <a:moveTo>
                    <a:pt x="0" y="377"/>
                  </a:moveTo>
                  <a:lnTo>
                    <a:pt x="2" y="394"/>
                  </a:lnTo>
                  <a:lnTo>
                    <a:pt x="134" y="377"/>
                  </a:lnTo>
                  <a:lnTo>
                    <a:pt x="192" y="457"/>
                  </a:lnTo>
                  <a:lnTo>
                    <a:pt x="241" y="453"/>
                  </a:lnTo>
                  <a:lnTo>
                    <a:pt x="252" y="416"/>
                  </a:lnTo>
                  <a:lnTo>
                    <a:pt x="296" y="414"/>
                  </a:lnTo>
                  <a:lnTo>
                    <a:pt x="329" y="437"/>
                  </a:lnTo>
                  <a:lnTo>
                    <a:pt x="336" y="560"/>
                  </a:lnTo>
                  <a:lnTo>
                    <a:pt x="407" y="553"/>
                  </a:lnTo>
                  <a:lnTo>
                    <a:pt x="606" y="635"/>
                  </a:lnTo>
                  <a:lnTo>
                    <a:pt x="605" y="598"/>
                  </a:lnTo>
                  <a:lnTo>
                    <a:pt x="566" y="581"/>
                  </a:lnTo>
                  <a:lnTo>
                    <a:pt x="573" y="491"/>
                  </a:lnTo>
                  <a:lnTo>
                    <a:pt x="636" y="459"/>
                  </a:lnTo>
                  <a:lnTo>
                    <a:pt x="597" y="398"/>
                  </a:lnTo>
                  <a:lnTo>
                    <a:pt x="590" y="294"/>
                  </a:lnTo>
                  <a:lnTo>
                    <a:pt x="583" y="268"/>
                  </a:lnTo>
                  <a:lnTo>
                    <a:pt x="606" y="222"/>
                  </a:lnTo>
                  <a:lnTo>
                    <a:pt x="636" y="135"/>
                  </a:lnTo>
                  <a:lnTo>
                    <a:pt x="659" y="102"/>
                  </a:lnTo>
                  <a:lnTo>
                    <a:pt x="646" y="52"/>
                  </a:lnTo>
                  <a:lnTo>
                    <a:pt x="531" y="0"/>
                  </a:lnTo>
                  <a:lnTo>
                    <a:pt x="320" y="30"/>
                  </a:lnTo>
                  <a:lnTo>
                    <a:pt x="252" y="0"/>
                  </a:lnTo>
                  <a:lnTo>
                    <a:pt x="221" y="50"/>
                  </a:lnTo>
                  <a:lnTo>
                    <a:pt x="189" y="201"/>
                  </a:lnTo>
                  <a:lnTo>
                    <a:pt x="138" y="251"/>
                  </a:lnTo>
                  <a:lnTo>
                    <a:pt x="124" y="311"/>
                  </a:lnTo>
                  <a:lnTo>
                    <a:pt x="76" y="343"/>
                  </a:lnTo>
                  <a:lnTo>
                    <a:pt x="23" y="339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7" name="Freeform 189"/>
            <p:cNvSpPr>
              <a:spLocks noChangeAspect="1"/>
            </p:cNvSpPr>
            <p:nvPr/>
          </p:nvSpPr>
          <p:spPr bwMode="gray">
            <a:xfrm>
              <a:off x="5066993" y="3183297"/>
              <a:ext cx="61258" cy="33181"/>
            </a:xfrm>
            <a:custGeom>
              <a:avLst/>
              <a:gdLst>
                <a:gd name="T0" fmla="*/ 0 w 82"/>
                <a:gd name="T1" fmla="*/ 0 h 43"/>
                <a:gd name="T2" fmla="*/ 1 w 82"/>
                <a:gd name="T3" fmla="*/ 0 h 43"/>
                <a:gd name="T4" fmla="*/ 3 w 82"/>
                <a:gd name="T5" fmla="*/ 0 h 43"/>
                <a:gd name="T6" fmla="*/ 0 w 82"/>
                <a:gd name="T7" fmla="*/ 0 h 4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2"/>
                <a:gd name="T13" fmla="*/ 0 h 43"/>
                <a:gd name="T14" fmla="*/ 82 w 82"/>
                <a:gd name="T15" fmla="*/ 43 h 4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2" h="43">
                  <a:moveTo>
                    <a:pt x="0" y="22"/>
                  </a:moveTo>
                  <a:lnTo>
                    <a:pt x="29" y="43"/>
                  </a:lnTo>
                  <a:lnTo>
                    <a:pt x="82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8" name="Freeform 190"/>
            <p:cNvSpPr>
              <a:spLocks noChangeAspect="1"/>
            </p:cNvSpPr>
            <p:nvPr/>
          </p:nvSpPr>
          <p:spPr bwMode="gray">
            <a:xfrm>
              <a:off x="4282894" y="3919922"/>
              <a:ext cx="67384" cy="182497"/>
            </a:xfrm>
            <a:custGeom>
              <a:avLst/>
              <a:gdLst>
                <a:gd name="T0" fmla="*/ 0 w 94"/>
                <a:gd name="T1" fmla="*/ 4 h 214"/>
                <a:gd name="T2" fmla="*/ 0 w 94"/>
                <a:gd name="T3" fmla="*/ 16 h 214"/>
                <a:gd name="T4" fmla="*/ 1 w 94"/>
                <a:gd name="T5" fmla="*/ 15 h 214"/>
                <a:gd name="T6" fmla="*/ 1 w 94"/>
                <a:gd name="T7" fmla="*/ 2 h 214"/>
                <a:gd name="T8" fmla="*/ 1 w 94"/>
                <a:gd name="T9" fmla="*/ 0 h 214"/>
                <a:gd name="T10" fmla="*/ 1 w 94"/>
                <a:gd name="T11" fmla="*/ 2 h 214"/>
                <a:gd name="T12" fmla="*/ 0 w 94"/>
                <a:gd name="T13" fmla="*/ 4 h 2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4"/>
                <a:gd name="T22" fmla="*/ 0 h 214"/>
                <a:gd name="T23" fmla="*/ 94 w 94"/>
                <a:gd name="T24" fmla="*/ 214 h 2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4" h="214">
                  <a:moveTo>
                    <a:pt x="0" y="52"/>
                  </a:moveTo>
                  <a:lnTo>
                    <a:pt x="36" y="214"/>
                  </a:lnTo>
                  <a:lnTo>
                    <a:pt x="67" y="212"/>
                  </a:lnTo>
                  <a:lnTo>
                    <a:pt x="94" y="25"/>
                  </a:lnTo>
                  <a:lnTo>
                    <a:pt x="67" y="0"/>
                  </a:lnTo>
                  <a:lnTo>
                    <a:pt x="50" y="16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89" name="Freeform 191"/>
            <p:cNvSpPr>
              <a:spLocks noChangeAspect="1"/>
            </p:cNvSpPr>
            <p:nvPr/>
          </p:nvSpPr>
          <p:spPr bwMode="gray">
            <a:xfrm>
              <a:off x="4492702" y="4225190"/>
              <a:ext cx="49006" cy="41477"/>
            </a:xfrm>
            <a:custGeom>
              <a:avLst/>
              <a:gdLst>
                <a:gd name="T0" fmla="*/ 0 w 62"/>
                <a:gd name="T1" fmla="*/ 20 h 43"/>
                <a:gd name="T2" fmla="*/ 1 w 62"/>
                <a:gd name="T3" fmla="*/ 1 h 43"/>
                <a:gd name="T4" fmla="*/ 5 w 62"/>
                <a:gd name="T5" fmla="*/ 0 h 43"/>
                <a:gd name="T6" fmla="*/ 5 w 62"/>
                <a:gd name="T7" fmla="*/ 17 h 43"/>
                <a:gd name="T8" fmla="*/ 0 w 62"/>
                <a:gd name="T9" fmla="*/ 20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2"/>
                <a:gd name="T16" fmla="*/ 0 h 43"/>
                <a:gd name="T17" fmla="*/ 62 w 62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2" h="43">
                  <a:moveTo>
                    <a:pt x="0" y="43"/>
                  </a:moveTo>
                  <a:lnTo>
                    <a:pt x="5" y="1"/>
                  </a:lnTo>
                  <a:lnTo>
                    <a:pt x="62" y="0"/>
                  </a:lnTo>
                  <a:lnTo>
                    <a:pt x="62" y="38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0" name="Freeform 192"/>
            <p:cNvSpPr>
              <a:spLocks noChangeAspect="1"/>
            </p:cNvSpPr>
            <p:nvPr/>
          </p:nvSpPr>
          <p:spPr bwMode="gray">
            <a:xfrm>
              <a:off x="5083839" y="3749038"/>
              <a:ext cx="376735" cy="441311"/>
            </a:xfrm>
            <a:custGeom>
              <a:avLst/>
              <a:gdLst>
                <a:gd name="T0" fmla="*/ 0 w 524"/>
                <a:gd name="T1" fmla="*/ 33 h 509"/>
                <a:gd name="T2" fmla="*/ 0 w 524"/>
                <a:gd name="T3" fmla="*/ 31 h 509"/>
                <a:gd name="T4" fmla="*/ 1 w 524"/>
                <a:gd name="T5" fmla="*/ 25 h 509"/>
                <a:gd name="T6" fmla="*/ 2 w 524"/>
                <a:gd name="T7" fmla="*/ 17 h 509"/>
                <a:gd name="T8" fmla="*/ 3 w 524"/>
                <a:gd name="T9" fmla="*/ 3 h 509"/>
                <a:gd name="T10" fmla="*/ 4 w 524"/>
                <a:gd name="T11" fmla="*/ 0 h 509"/>
                <a:gd name="T12" fmla="*/ 4 w 524"/>
                <a:gd name="T13" fmla="*/ 9 h 509"/>
                <a:gd name="T14" fmla="*/ 7 w 524"/>
                <a:gd name="T15" fmla="*/ 18 h 509"/>
                <a:gd name="T16" fmla="*/ 6 w 524"/>
                <a:gd name="T17" fmla="*/ 22 h 509"/>
                <a:gd name="T18" fmla="*/ 7 w 524"/>
                <a:gd name="T19" fmla="*/ 24 h 509"/>
                <a:gd name="T20" fmla="*/ 7 w 524"/>
                <a:gd name="T21" fmla="*/ 30 h 509"/>
                <a:gd name="T22" fmla="*/ 10 w 524"/>
                <a:gd name="T23" fmla="*/ 33 h 509"/>
                <a:gd name="T24" fmla="*/ 8 w 524"/>
                <a:gd name="T25" fmla="*/ 43 h 509"/>
                <a:gd name="T26" fmla="*/ 6 w 524"/>
                <a:gd name="T27" fmla="*/ 47 h 509"/>
                <a:gd name="T28" fmla="*/ 4 w 524"/>
                <a:gd name="T29" fmla="*/ 48 h 509"/>
                <a:gd name="T30" fmla="*/ 2 w 524"/>
                <a:gd name="T31" fmla="*/ 44 h 509"/>
                <a:gd name="T32" fmla="*/ 1 w 524"/>
                <a:gd name="T33" fmla="*/ 38 h 509"/>
                <a:gd name="T34" fmla="*/ 0 w 524"/>
                <a:gd name="T35" fmla="*/ 33 h 5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24"/>
                <a:gd name="T55" fmla="*/ 0 h 509"/>
                <a:gd name="T56" fmla="*/ 524 w 524"/>
                <a:gd name="T57" fmla="*/ 509 h 50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24" h="509">
                  <a:moveTo>
                    <a:pt x="0" y="356"/>
                  </a:moveTo>
                  <a:lnTo>
                    <a:pt x="40" y="329"/>
                  </a:lnTo>
                  <a:lnTo>
                    <a:pt x="44" y="265"/>
                  </a:lnTo>
                  <a:lnTo>
                    <a:pt x="112" y="181"/>
                  </a:lnTo>
                  <a:lnTo>
                    <a:pt x="139" y="33"/>
                  </a:lnTo>
                  <a:lnTo>
                    <a:pt x="193" y="0"/>
                  </a:lnTo>
                  <a:lnTo>
                    <a:pt x="232" y="102"/>
                  </a:lnTo>
                  <a:lnTo>
                    <a:pt x="348" y="188"/>
                  </a:lnTo>
                  <a:lnTo>
                    <a:pt x="307" y="240"/>
                  </a:lnTo>
                  <a:lnTo>
                    <a:pt x="345" y="253"/>
                  </a:lnTo>
                  <a:lnTo>
                    <a:pt x="387" y="316"/>
                  </a:lnTo>
                  <a:lnTo>
                    <a:pt x="524" y="350"/>
                  </a:lnTo>
                  <a:lnTo>
                    <a:pt x="418" y="455"/>
                  </a:lnTo>
                  <a:lnTo>
                    <a:pt x="309" y="493"/>
                  </a:lnTo>
                  <a:lnTo>
                    <a:pt x="210" y="509"/>
                  </a:lnTo>
                  <a:lnTo>
                    <a:pt x="100" y="470"/>
                  </a:lnTo>
                  <a:lnTo>
                    <a:pt x="61" y="398"/>
                  </a:lnTo>
                  <a:lnTo>
                    <a:pt x="0" y="35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1" name="Freeform 193"/>
            <p:cNvSpPr>
              <a:spLocks noChangeAspect="1"/>
            </p:cNvSpPr>
            <p:nvPr/>
          </p:nvSpPr>
          <p:spPr bwMode="gray">
            <a:xfrm>
              <a:off x="5304367" y="3913285"/>
              <a:ext cx="41349" cy="54749"/>
            </a:xfrm>
            <a:custGeom>
              <a:avLst/>
              <a:gdLst>
                <a:gd name="T0" fmla="*/ 0 w 55"/>
                <a:gd name="T1" fmla="*/ 3 h 65"/>
                <a:gd name="T2" fmla="*/ 1 w 55"/>
                <a:gd name="T3" fmla="*/ 4 h 65"/>
                <a:gd name="T4" fmla="*/ 2 w 55"/>
                <a:gd name="T5" fmla="*/ 3 h 65"/>
                <a:gd name="T6" fmla="*/ 1 w 55"/>
                <a:gd name="T7" fmla="*/ 3 h 65"/>
                <a:gd name="T8" fmla="*/ 2 w 55"/>
                <a:gd name="T9" fmla="*/ 2 h 65"/>
                <a:gd name="T10" fmla="*/ 1 w 55"/>
                <a:gd name="T11" fmla="*/ 0 h 65"/>
                <a:gd name="T12" fmla="*/ 0 w 55"/>
                <a:gd name="T13" fmla="*/ 3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5"/>
                <a:gd name="T22" fmla="*/ 0 h 65"/>
                <a:gd name="T23" fmla="*/ 55 w 55"/>
                <a:gd name="T24" fmla="*/ 65 h 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5" h="65">
                  <a:moveTo>
                    <a:pt x="0" y="52"/>
                  </a:moveTo>
                  <a:lnTo>
                    <a:pt x="38" y="65"/>
                  </a:lnTo>
                  <a:lnTo>
                    <a:pt x="52" y="44"/>
                  </a:lnTo>
                  <a:lnTo>
                    <a:pt x="25" y="41"/>
                  </a:lnTo>
                  <a:lnTo>
                    <a:pt x="55" y="25"/>
                  </a:lnTo>
                  <a:lnTo>
                    <a:pt x="41" y="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2" name="Freeform 194"/>
            <p:cNvSpPr>
              <a:spLocks noChangeAspect="1"/>
            </p:cNvSpPr>
            <p:nvPr/>
          </p:nvSpPr>
          <p:spPr bwMode="gray">
            <a:xfrm>
              <a:off x="4477388" y="4225190"/>
              <a:ext cx="139361" cy="185815"/>
            </a:xfrm>
            <a:custGeom>
              <a:avLst/>
              <a:gdLst>
                <a:gd name="T0" fmla="*/ 0 w 192"/>
                <a:gd name="T1" fmla="*/ 12 h 211"/>
                <a:gd name="T2" fmla="*/ 0 w 192"/>
                <a:gd name="T3" fmla="*/ 8 h 211"/>
                <a:gd name="T4" fmla="*/ 1 w 192"/>
                <a:gd name="T5" fmla="*/ 8 h 211"/>
                <a:gd name="T6" fmla="*/ 0 w 192"/>
                <a:gd name="T7" fmla="*/ 5 h 211"/>
                <a:gd name="T8" fmla="*/ 2 w 192"/>
                <a:gd name="T9" fmla="*/ 4 h 211"/>
                <a:gd name="T10" fmla="*/ 2 w 192"/>
                <a:gd name="T11" fmla="*/ 0 h 211"/>
                <a:gd name="T12" fmla="*/ 3 w 192"/>
                <a:gd name="T13" fmla="*/ 1 h 211"/>
                <a:gd name="T14" fmla="*/ 3 w 192"/>
                <a:gd name="T15" fmla="*/ 4 h 211"/>
                <a:gd name="T16" fmla="*/ 4 w 192"/>
                <a:gd name="T17" fmla="*/ 4 h 211"/>
                <a:gd name="T18" fmla="*/ 4 w 192"/>
                <a:gd name="T19" fmla="*/ 19 h 211"/>
                <a:gd name="T20" fmla="*/ 3 w 192"/>
                <a:gd name="T21" fmla="*/ 16 h 211"/>
                <a:gd name="T22" fmla="*/ 2 w 192"/>
                <a:gd name="T23" fmla="*/ 25 h 211"/>
                <a:gd name="T24" fmla="*/ 0 w 192"/>
                <a:gd name="T25" fmla="*/ 12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2"/>
                <a:gd name="T40" fmla="*/ 0 h 211"/>
                <a:gd name="T41" fmla="*/ 192 w 192"/>
                <a:gd name="T42" fmla="*/ 211 h 2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2" h="211">
                  <a:moveTo>
                    <a:pt x="0" y="100"/>
                  </a:moveTo>
                  <a:lnTo>
                    <a:pt x="21" y="67"/>
                  </a:lnTo>
                  <a:lnTo>
                    <a:pt x="36" y="70"/>
                  </a:lnTo>
                  <a:lnTo>
                    <a:pt x="26" y="43"/>
                  </a:lnTo>
                  <a:lnTo>
                    <a:pt x="88" y="38"/>
                  </a:lnTo>
                  <a:lnTo>
                    <a:pt x="88" y="0"/>
                  </a:lnTo>
                  <a:lnTo>
                    <a:pt x="158" y="1"/>
                  </a:lnTo>
                  <a:lnTo>
                    <a:pt x="156" y="33"/>
                  </a:lnTo>
                  <a:lnTo>
                    <a:pt x="192" y="35"/>
                  </a:lnTo>
                  <a:lnTo>
                    <a:pt x="181" y="154"/>
                  </a:lnTo>
                  <a:lnTo>
                    <a:pt x="136" y="140"/>
                  </a:lnTo>
                  <a:lnTo>
                    <a:pt x="85" y="211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3" name="Freeform 195"/>
            <p:cNvSpPr>
              <a:spLocks noChangeAspect="1"/>
            </p:cNvSpPr>
            <p:nvPr/>
          </p:nvSpPr>
          <p:spPr bwMode="gray">
            <a:xfrm>
              <a:off x="3841838" y="3881763"/>
              <a:ext cx="76572" cy="19909"/>
            </a:xfrm>
            <a:custGeom>
              <a:avLst/>
              <a:gdLst>
                <a:gd name="T0" fmla="*/ 0 w 103"/>
                <a:gd name="T1" fmla="*/ 7 h 21"/>
                <a:gd name="T2" fmla="*/ 0 w 103"/>
                <a:gd name="T3" fmla="*/ 0 h 21"/>
                <a:gd name="T4" fmla="*/ 3 w 103"/>
                <a:gd name="T5" fmla="*/ 3 h 21"/>
                <a:gd name="T6" fmla="*/ 0 w 103"/>
                <a:gd name="T7" fmla="*/ 7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3"/>
                <a:gd name="T13" fmla="*/ 0 h 21"/>
                <a:gd name="T14" fmla="*/ 103 w 103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3" h="21">
                  <a:moveTo>
                    <a:pt x="0" y="21"/>
                  </a:moveTo>
                  <a:lnTo>
                    <a:pt x="4" y="0"/>
                  </a:lnTo>
                  <a:lnTo>
                    <a:pt x="103" y="8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4" name="Freeform 196"/>
            <p:cNvSpPr>
              <a:spLocks noChangeAspect="1"/>
            </p:cNvSpPr>
            <p:nvPr/>
          </p:nvSpPr>
          <p:spPr bwMode="gray">
            <a:xfrm>
              <a:off x="4183350" y="3954762"/>
              <a:ext cx="105670" cy="194111"/>
            </a:xfrm>
            <a:custGeom>
              <a:avLst/>
              <a:gdLst>
                <a:gd name="T0" fmla="*/ 0 w 148"/>
                <a:gd name="T1" fmla="*/ 19 h 225"/>
                <a:gd name="T2" fmla="*/ 0 w 148"/>
                <a:gd name="T3" fmla="*/ 5 h 225"/>
                <a:gd name="T4" fmla="*/ 0 w 148"/>
                <a:gd name="T5" fmla="*/ 1 h 225"/>
                <a:gd name="T6" fmla="*/ 1 w 148"/>
                <a:gd name="T7" fmla="*/ 0 h 225"/>
                <a:gd name="T8" fmla="*/ 3 w 148"/>
                <a:gd name="T9" fmla="*/ 16 h 225"/>
                <a:gd name="T10" fmla="*/ 0 w 148"/>
                <a:gd name="T11" fmla="*/ 19 h 225"/>
                <a:gd name="T12" fmla="*/ 0 w 148"/>
                <a:gd name="T13" fmla="*/ 19 h 2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8"/>
                <a:gd name="T22" fmla="*/ 0 h 225"/>
                <a:gd name="T23" fmla="*/ 148 w 148"/>
                <a:gd name="T24" fmla="*/ 225 h 2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8" h="225">
                  <a:moveTo>
                    <a:pt x="0" y="212"/>
                  </a:moveTo>
                  <a:lnTo>
                    <a:pt x="13" y="57"/>
                  </a:lnTo>
                  <a:lnTo>
                    <a:pt x="6" y="9"/>
                  </a:lnTo>
                  <a:lnTo>
                    <a:pt x="99" y="0"/>
                  </a:lnTo>
                  <a:lnTo>
                    <a:pt x="148" y="177"/>
                  </a:lnTo>
                  <a:lnTo>
                    <a:pt x="38" y="225"/>
                  </a:lnTo>
                  <a:lnTo>
                    <a:pt x="0" y="21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5" name="Freeform 197"/>
            <p:cNvSpPr>
              <a:spLocks noChangeAspect="1"/>
            </p:cNvSpPr>
            <p:nvPr/>
          </p:nvSpPr>
          <p:spPr bwMode="gray">
            <a:xfrm>
              <a:off x="3883187" y="3913285"/>
              <a:ext cx="183773" cy="159270"/>
            </a:xfrm>
            <a:custGeom>
              <a:avLst/>
              <a:gdLst>
                <a:gd name="T0" fmla="*/ 0 w 254"/>
                <a:gd name="T1" fmla="*/ 5 h 186"/>
                <a:gd name="T2" fmla="*/ 1 w 254"/>
                <a:gd name="T3" fmla="*/ 3 h 186"/>
                <a:gd name="T4" fmla="*/ 1 w 254"/>
                <a:gd name="T5" fmla="*/ 0 h 186"/>
                <a:gd name="T6" fmla="*/ 3 w 254"/>
                <a:gd name="T7" fmla="*/ 1 h 186"/>
                <a:gd name="T8" fmla="*/ 3 w 254"/>
                <a:gd name="T9" fmla="*/ 2 h 186"/>
                <a:gd name="T10" fmla="*/ 4 w 254"/>
                <a:gd name="T11" fmla="*/ 1 h 186"/>
                <a:gd name="T12" fmla="*/ 5 w 254"/>
                <a:gd name="T13" fmla="*/ 7 h 186"/>
                <a:gd name="T14" fmla="*/ 5 w 254"/>
                <a:gd name="T15" fmla="*/ 12 h 186"/>
                <a:gd name="T16" fmla="*/ 5 w 254"/>
                <a:gd name="T17" fmla="*/ 11 h 186"/>
                <a:gd name="T18" fmla="*/ 5 w 254"/>
                <a:gd name="T19" fmla="*/ 14 h 186"/>
                <a:gd name="T20" fmla="*/ 4 w 254"/>
                <a:gd name="T21" fmla="*/ 14 h 186"/>
                <a:gd name="T22" fmla="*/ 4 w 254"/>
                <a:gd name="T23" fmla="*/ 12 h 186"/>
                <a:gd name="T24" fmla="*/ 4 w 254"/>
                <a:gd name="T25" fmla="*/ 12 h 186"/>
                <a:gd name="T26" fmla="*/ 3 w 254"/>
                <a:gd name="T27" fmla="*/ 7 h 186"/>
                <a:gd name="T28" fmla="*/ 1 w 254"/>
                <a:gd name="T29" fmla="*/ 10 h 186"/>
                <a:gd name="T30" fmla="*/ 0 w 254"/>
                <a:gd name="T31" fmla="*/ 5 h 1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54"/>
                <a:gd name="T49" fmla="*/ 0 h 186"/>
                <a:gd name="T50" fmla="*/ 254 w 254"/>
                <a:gd name="T51" fmla="*/ 186 h 1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54" h="186">
                  <a:moveTo>
                    <a:pt x="0" y="62"/>
                  </a:moveTo>
                  <a:lnTo>
                    <a:pt x="43" y="35"/>
                  </a:lnTo>
                  <a:lnTo>
                    <a:pt x="44" y="0"/>
                  </a:lnTo>
                  <a:lnTo>
                    <a:pt x="127" y="8"/>
                  </a:lnTo>
                  <a:lnTo>
                    <a:pt x="149" y="25"/>
                  </a:lnTo>
                  <a:lnTo>
                    <a:pt x="208" y="5"/>
                  </a:lnTo>
                  <a:lnTo>
                    <a:pt x="243" y="88"/>
                  </a:lnTo>
                  <a:lnTo>
                    <a:pt x="254" y="151"/>
                  </a:lnTo>
                  <a:lnTo>
                    <a:pt x="232" y="146"/>
                  </a:lnTo>
                  <a:lnTo>
                    <a:pt x="226" y="180"/>
                  </a:lnTo>
                  <a:lnTo>
                    <a:pt x="190" y="186"/>
                  </a:lnTo>
                  <a:lnTo>
                    <a:pt x="188" y="151"/>
                  </a:lnTo>
                  <a:lnTo>
                    <a:pt x="166" y="150"/>
                  </a:lnTo>
                  <a:lnTo>
                    <a:pt x="132" y="97"/>
                  </a:lnTo>
                  <a:lnTo>
                    <a:pt x="60" y="126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6" name="Freeform 198"/>
            <p:cNvSpPr>
              <a:spLocks noChangeAspect="1"/>
            </p:cNvSpPr>
            <p:nvPr/>
          </p:nvSpPr>
          <p:spPr bwMode="gray">
            <a:xfrm>
              <a:off x="5377877" y="3393998"/>
              <a:ext cx="47475" cy="16591"/>
            </a:xfrm>
            <a:custGeom>
              <a:avLst/>
              <a:gdLst>
                <a:gd name="T0" fmla="*/ 0 w 64"/>
                <a:gd name="T1" fmla="*/ 0 h 17"/>
                <a:gd name="T2" fmla="*/ 1 w 64"/>
                <a:gd name="T3" fmla="*/ 9 h 17"/>
                <a:gd name="T4" fmla="*/ 2 w 64"/>
                <a:gd name="T5" fmla="*/ 2 h 17"/>
                <a:gd name="T6" fmla="*/ 0 w 64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4"/>
                <a:gd name="T13" fmla="*/ 0 h 17"/>
                <a:gd name="T14" fmla="*/ 64 w 64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4" h="17">
                  <a:moveTo>
                    <a:pt x="0" y="0"/>
                  </a:moveTo>
                  <a:lnTo>
                    <a:pt x="33" y="17"/>
                  </a:lnTo>
                  <a:lnTo>
                    <a:pt x="64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7" name="Freeform 199"/>
            <p:cNvSpPr>
              <a:spLocks noChangeAspect="1"/>
            </p:cNvSpPr>
            <p:nvPr/>
          </p:nvSpPr>
          <p:spPr bwMode="gray">
            <a:xfrm>
              <a:off x="5108342" y="3267909"/>
              <a:ext cx="38286" cy="124430"/>
            </a:xfrm>
            <a:custGeom>
              <a:avLst/>
              <a:gdLst>
                <a:gd name="T0" fmla="*/ 0 w 55"/>
                <a:gd name="T1" fmla="*/ 5 h 147"/>
                <a:gd name="T2" fmla="*/ 0 w 55"/>
                <a:gd name="T3" fmla="*/ 10 h 147"/>
                <a:gd name="T4" fmla="*/ 0 w 55"/>
                <a:gd name="T5" fmla="*/ 9 h 147"/>
                <a:gd name="T6" fmla="*/ 0 w 55"/>
                <a:gd name="T7" fmla="*/ 5 h 147"/>
                <a:gd name="T8" fmla="*/ 0 w 55"/>
                <a:gd name="T9" fmla="*/ 5 h 147"/>
                <a:gd name="T10" fmla="*/ 0 w 55"/>
                <a:gd name="T11" fmla="*/ 3 h 147"/>
                <a:gd name="T12" fmla="*/ 0 w 55"/>
                <a:gd name="T13" fmla="*/ 2 h 147"/>
                <a:gd name="T14" fmla="*/ 0 w 55"/>
                <a:gd name="T15" fmla="*/ 0 h 147"/>
                <a:gd name="T16" fmla="*/ 0 w 55"/>
                <a:gd name="T17" fmla="*/ 1 h 147"/>
                <a:gd name="T18" fmla="*/ 0 w 55"/>
                <a:gd name="T19" fmla="*/ 5 h 1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147"/>
                <a:gd name="T32" fmla="*/ 55 w 55"/>
                <a:gd name="T33" fmla="*/ 147 h 1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147">
                  <a:moveTo>
                    <a:pt x="0" y="74"/>
                  </a:moveTo>
                  <a:lnTo>
                    <a:pt x="30" y="147"/>
                  </a:lnTo>
                  <a:lnTo>
                    <a:pt x="33" y="145"/>
                  </a:lnTo>
                  <a:lnTo>
                    <a:pt x="49" y="66"/>
                  </a:lnTo>
                  <a:lnTo>
                    <a:pt x="27" y="72"/>
                  </a:lnTo>
                  <a:lnTo>
                    <a:pt x="33" y="37"/>
                  </a:lnTo>
                  <a:lnTo>
                    <a:pt x="50" y="20"/>
                  </a:lnTo>
                  <a:lnTo>
                    <a:pt x="55" y="0"/>
                  </a:lnTo>
                  <a:lnTo>
                    <a:pt x="36" y="3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8" name="Freeform 200"/>
            <p:cNvSpPr>
              <a:spLocks noChangeAspect="1"/>
            </p:cNvSpPr>
            <p:nvPr/>
          </p:nvSpPr>
          <p:spPr bwMode="gray">
            <a:xfrm>
              <a:off x="4043989" y="3973012"/>
              <a:ext cx="148550" cy="187474"/>
            </a:xfrm>
            <a:custGeom>
              <a:avLst/>
              <a:gdLst>
                <a:gd name="T0" fmla="*/ 0 w 204"/>
                <a:gd name="T1" fmla="*/ 11 h 219"/>
                <a:gd name="T2" fmla="*/ 0 w 204"/>
                <a:gd name="T3" fmla="*/ 9 h 219"/>
                <a:gd name="T4" fmla="*/ 0 w 204"/>
                <a:gd name="T5" fmla="*/ 6 h 219"/>
                <a:gd name="T6" fmla="*/ 0 w 204"/>
                <a:gd name="T7" fmla="*/ 6 h 219"/>
                <a:gd name="T8" fmla="*/ 0 w 204"/>
                <a:gd name="T9" fmla="*/ 2 h 219"/>
                <a:gd name="T10" fmla="*/ 2 w 204"/>
                <a:gd name="T11" fmla="*/ 0 h 219"/>
                <a:gd name="T12" fmla="*/ 3 w 204"/>
                <a:gd name="T13" fmla="*/ 1 h 219"/>
                <a:gd name="T14" fmla="*/ 3 w 204"/>
                <a:gd name="T15" fmla="*/ 3 h 219"/>
                <a:gd name="T16" fmla="*/ 5 w 204"/>
                <a:gd name="T17" fmla="*/ 3 h 219"/>
                <a:gd name="T18" fmla="*/ 4 w 204"/>
                <a:gd name="T19" fmla="*/ 15 h 219"/>
                <a:gd name="T20" fmla="*/ 0 w 204"/>
                <a:gd name="T21" fmla="*/ 17 h 219"/>
                <a:gd name="T22" fmla="*/ 1 w 204"/>
                <a:gd name="T23" fmla="*/ 13 h 219"/>
                <a:gd name="T24" fmla="*/ 0 w 204"/>
                <a:gd name="T25" fmla="*/ 11 h 2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4"/>
                <a:gd name="T40" fmla="*/ 0 h 219"/>
                <a:gd name="T41" fmla="*/ 204 w 204"/>
                <a:gd name="T42" fmla="*/ 219 h 2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4" h="219">
                  <a:moveTo>
                    <a:pt x="0" y="144"/>
                  </a:moveTo>
                  <a:lnTo>
                    <a:pt x="2" y="111"/>
                  </a:lnTo>
                  <a:lnTo>
                    <a:pt x="8" y="77"/>
                  </a:lnTo>
                  <a:lnTo>
                    <a:pt x="30" y="82"/>
                  </a:lnTo>
                  <a:lnTo>
                    <a:pt x="19" y="19"/>
                  </a:lnTo>
                  <a:lnTo>
                    <a:pt x="81" y="0"/>
                  </a:lnTo>
                  <a:lnTo>
                    <a:pt x="116" y="13"/>
                  </a:lnTo>
                  <a:lnTo>
                    <a:pt x="134" y="34"/>
                  </a:lnTo>
                  <a:lnTo>
                    <a:pt x="204" y="41"/>
                  </a:lnTo>
                  <a:lnTo>
                    <a:pt x="191" y="196"/>
                  </a:lnTo>
                  <a:lnTo>
                    <a:pt x="33" y="219"/>
                  </a:lnTo>
                  <a:lnTo>
                    <a:pt x="37" y="169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199" name="Freeform 201"/>
            <p:cNvSpPr>
              <a:spLocks noChangeAspect="1"/>
            </p:cNvSpPr>
            <p:nvPr/>
          </p:nvSpPr>
          <p:spPr bwMode="gray">
            <a:xfrm>
              <a:off x="5128251" y="3261273"/>
              <a:ext cx="110264" cy="139361"/>
            </a:xfrm>
            <a:custGeom>
              <a:avLst/>
              <a:gdLst>
                <a:gd name="T0" fmla="*/ 0 w 152"/>
                <a:gd name="T1" fmla="*/ 6 h 162"/>
                <a:gd name="T2" fmla="*/ 0 w 152"/>
                <a:gd name="T3" fmla="*/ 4 h 162"/>
                <a:gd name="T4" fmla="*/ 0 w 152"/>
                <a:gd name="T5" fmla="*/ 2 h 162"/>
                <a:gd name="T6" fmla="*/ 1 w 152"/>
                <a:gd name="T7" fmla="*/ 3 h 162"/>
                <a:gd name="T8" fmla="*/ 3 w 152"/>
                <a:gd name="T9" fmla="*/ 0 h 162"/>
                <a:gd name="T10" fmla="*/ 3 w 152"/>
                <a:gd name="T11" fmla="*/ 4 h 162"/>
                <a:gd name="T12" fmla="*/ 1 w 152"/>
                <a:gd name="T13" fmla="*/ 6 h 162"/>
                <a:gd name="T14" fmla="*/ 2 w 152"/>
                <a:gd name="T15" fmla="*/ 9 h 162"/>
                <a:gd name="T16" fmla="*/ 2 w 152"/>
                <a:gd name="T17" fmla="*/ 11 h 162"/>
                <a:gd name="T18" fmla="*/ 1 w 152"/>
                <a:gd name="T19" fmla="*/ 13 h 162"/>
                <a:gd name="T20" fmla="*/ 0 w 152"/>
                <a:gd name="T21" fmla="*/ 12 h 162"/>
                <a:gd name="T22" fmla="*/ 0 w 152"/>
                <a:gd name="T23" fmla="*/ 6 h 162"/>
                <a:gd name="T24" fmla="*/ 0 w 152"/>
                <a:gd name="T25" fmla="*/ 6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2"/>
                <a:gd name="T40" fmla="*/ 0 h 162"/>
                <a:gd name="T41" fmla="*/ 152 w 152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2" h="162">
                  <a:moveTo>
                    <a:pt x="0" y="78"/>
                  </a:moveTo>
                  <a:lnTo>
                    <a:pt x="6" y="43"/>
                  </a:lnTo>
                  <a:lnTo>
                    <a:pt x="23" y="26"/>
                  </a:lnTo>
                  <a:lnTo>
                    <a:pt x="60" y="40"/>
                  </a:lnTo>
                  <a:lnTo>
                    <a:pt x="135" y="0"/>
                  </a:lnTo>
                  <a:lnTo>
                    <a:pt x="152" y="45"/>
                  </a:lnTo>
                  <a:lnTo>
                    <a:pt x="73" y="71"/>
                  </a:lnTo>
                  <a:lnTo>
                    <a:pt x="111" y="106"/>
                  </a:lnTo>
                  <a:lnTo>
                    <a:pt x="92" y="130"/>
                  </a:lnTo>
                  <a:lnTo>
                    <a:pt x="45" y="162"/>
                  </a:lnTo>
                  <a:lnTo>
                    <a:pt x="6" y="151"/>
                  </a:lnTo>
                  <a:lnTo>
                    <a:pt x="22" y="72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0" name="Freeform 202"/>
            <p:cNvSpPr>
              <a:spLocks noChangeAspect="1"/>
            </p:cNvSpPr>
            <p:nvPr/>
          </p:nvSpPr>
          <p:spPr bwMode="gray">
            <a:xfrm>
              <a:off x="5108342" y="4153850"/>
              <a:ext cx="196025" cy="278723"/>
            </a:xfrm>
            <a:custGeom>
              <a:avLst/>
              <a:gdLst>
                <a:gd name="T0" fmla="*/ 0 w 274"/>
                <a:gd name="T1" fmla="*/ 2 h 319"/>
                <a:gd name="T2" fmla="*/ 0 w 274"/>
                <a:gd name="T3" fmla="*/ 9 h 319"/>
                <a:gd name="T4" fmla="*/ 0 w 274"/>
                <a:gd name="T5" fmla="*/ 16 h 319"/>
                <a:gd name="T6" fmla="*/ 0 w 274"/>
                <a:gd name="T7" fmla="*/ 18 h 319"/>
                <a:gd name="T8" fmla="*/ 0 w 274"/>
                <a:gd name="T9" fmla="*/ 20 h 319"/>
                <a:gd name="T10" fmla="*/ 3 w 274"/>
                <a:gd name="T11" fmla="*/ 34 h 319"/>
                <a:gd name="T12" fmla="*/ 5 w 274"/>
                <a:gd name="T13" fmla="*/ 23 h 319"/>
                <a:gd name="T14" fmla="*/ 4 w 274"/>
                <a:gd name="T15" fmla="*/ 20 h 319"/>
                <a:gd name="T16" fmla="*/ 4 w 274"/>
                <a:gd name="T17" fmla="*/ 6 h 319"/>
                <a:gd name="T18" fmla="*/ 5 w 274"/>
                <a:gd name="T19" fmla="*/ 3 h 319"/>
                <a:gd name="T20" fmla="*/ 3 w 274"/>
                <a:gd name="T21" fmla="*/ 4 h 319"/>
                <a:gd name="T22" fmla="*/ 1 w 274"/>
                <a:gd name="T23" fmla="*/ 0 h 319"/>
                <a:gd name="T24" fmla="*/ 0 w 274"/>
                <a:gd name="T25" fmla="*/ 2 h 3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4"/>
                <a:gd name="T40" fmla="*/ 0 h 319"/>
                <a:gd name="T41" fmla="*/ 274 w 274"/>
                <a:gd name="T42" fmla="*/ 319 h 3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4" h="319">
                  <a:moveTo>
                    <a:pt x="0" y="20"/>
                  </a:moveTo>
                  <a:lnTo>
                    <a:pt x="38" y="88"/>
                  </a:lnTo>
                  <a:lnTo>
                    <a:pt x="0" y="150"/>
                  </a:lnTo>
                  <a:lnTo>
                    <a:pt x="30" y="167"/>
                  </a:lnTo>
                  <a:lnTo>
                    <a:pt x="9" y="190"/>
                  </a:lnTo>
                  <a:lnTo>
                    <a:pt x="187" y="319"/>
                  </a:lnTo>
                  <a:lnTo>
                    <a:pt x="263" y="216"/>
                  </a:lnTo>
                  <a:lnTo>
                    <a:pt x="246" y="188"/>
                  </a:lnTo>
                  <a:lnTo>
                    <a:pt x="246" y="61"/>
                  </a:lnTo>
                  <a:lnTo>
                    <a:pt x="274" y="23"/>
                  </a:lnTo>
                  <a:lnTo>
                    <a:pt x="175" y="39"/>
                  </a:lnTo>
                  <a:lnTo>
                    <a:pt x="65" y="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1" name="Freeform 203"/>
            <p:cNvSpPr>
              <a:spLocks noChangeAspect="1"/>
            </p:cNvSpPr>
            <p:nvPr/>
          </p:nvSpPr>
          <p:spPr bwMode="gray">
            <a:xfrm>
              <a:off x="5425351" y="3369112"/>
              <a:ext cx="41349" cy="46454"/>
            </a:xfrm>
            <a:custGeom>
              <a:avLst/>
              <a:gdLst>
                <a:gd name="T0" fmla="*/ 0 w 62"/>
                <a:gd name="T1" fmla="*/ 5 h 52"/>
                <a:gd name="T2" fmla="*/ 0 w 62"/>
                <a:gd name="T3" fmla="*/ 0 h 52"/>
                <a:gd name="T4" fmla="*/ 0 w 62"/>
                <a:gd name="T5" fmla="*/ 8 h 52"/>
                <a:gd name="T6" fmla="*/ 0 w 62"/>
                <a:gd name="T7" fmla="*/ 5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2"/>
                <a:gd name="T13" fmla="*/ 0 h 52"/>
                <a:gd name="T14" fmla="*/ 62 w 62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2" h="52">
                  <a:moveTo>
                    <a:pt x="0" y="32"/>
                  </a:moveTo>
                  <a:lnTo>
                    <a:pt x="51" y="0"/>
                  </a:lnTo>
                  <a:lnTo>
                    <a:pt x="62" y="5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2" name="Freeform 204"/>
            <p:cNvSpPr>
              <a:spLocks noChangeAspect="1"/>
            </p:cNvSpPr>
            <p:nvPr/>
          </p:nvSpPr>
          <p:spPr bwMode="gray">
            <a:xfrm>
              <a:off x="5137440" y="3213160"/>
              <a:ext cx="36755" cy="54749"/>
            </a:xfrm>
            <a:custGeom>
              <a:avLst/>
              <a:gdLst>
                <a:gd name="T0" fmla="*/ 0 w 55"/>
                <a:gd name="T1" fmla="*/ 10 h 61"/>
                <a:gd name="T2" fmla="*/ 0 w 55"/>
                <a:gd name="T3" fmla="*/ 9 h 61"/>
                <a:gd name="T4" fmla="*/ 0 w 55"/>
                <a:gd name="T5" fmla="*/ 3 h 61"/>
                <a:gd name="T6" fmla="*/ 0 w 55"/>
                <a:gd name="T7" fmla="*/ 0 h 61"/>
                <a:gd name="T8" fmla="*/ 0 w 55"/>
                <a:gd name="T9" fmla="*/ 10 h 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"/>
                <a:gd name="T16" fmla="*/ 0 h 61"/>
                <a:gd name="T17" fmla="*/ 55 w 55"/>
                <a:gd name="T18" fmla="*/ 61 h 6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" h="61">
                  <a:moveTo>
                    <a:pt x="0" y="61"/>
                  </a:moveTo>
                  <a:lnTo>
                    <a:pt x="19" y="58"/>
                  </a:lnTo>
                  <a:lnTo>
                    <a:pt x="55" y="18"/>
                  </a:lnTo>
                  <a:lnTo>
                    <a:pt x="34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3" name="Freeform 205"/>
            <p:cNvSpPr>
              <a:spLocks noChangeAspect="1"/>
            </p:cNvSpPr>
            <p:nvPr/>
          </p:nvSpPr>
          <p:spPr bwMode="gray">
            <a:xfrm>
              <a:off x="3973542" y="4044352"/>
              <a:ext cx="98012" cy="116135"/>
            </a:xfrm>
            <a:custGeom>
              <a:avLst/>
              <a:gdLst>
                <a:gd name="T0" fmla="*/ 0 w 137"/>
                <a:gd name="T1" fmla="*/ 3 h 138"/>
                <a:gd name="T2" fmla="*/ 0 w 137"/>
                <a:gd name="T3" fmla="*/ 0 h 138"/>
                <a:gd name="T4" fmla="*/ 1 w 137"/>
                <a:gd name="T5" fmla="*/ 1 h 138"/>
                <a:gd name="T6" fmla="*/ 1 w 137"/>
                <a:gd name="T7" fmla="*/ 2 h 138"/>
                <a:gd name="T8" fmla="*/ 2 w 137"/>
                <a:gd name="T9" fmla="*/ 2 h 138"/>
                <a:gd name="T10" fmla="*/ 2 w 137"/>
                <a:gd name="T11" fmla="*/ 4 h 138"/>
                <a:gd name="T12" fmla="*/ 2 w 137"/>
                <a:gd name="T13" fmla="*/ 6 h 138"/>
                <a:gd name="T14" fmla="*/ 2 w 137"/>
                <a:gd name="T15" fmla="*/ 8 h 138"/>
                <a:gd name="T16" fmla="*/ 0 w 137"/>
                <a:gd name="T17" fmla="*/ 3 h 1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7"/>
                <a:gd name="T28" fmla="*/ 0 h 138"/>
                <a:gd name="T29" fmla="*/ 137 w 137"/>
                <a:gd name="T30" fmla="*/ 138 h 13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7" h="138">
                  <a:moveTo>
                    <a:pt x="0" y="51"/>
                  </a:moveTo>
                  <a:lnTo>
                    <a:pt x="42" y="0"/>
                  </a:lnTo>
                  <a:lnTo>
                    <a:pt x="64" y="1"/>
                  </a:lnTo>
                  <a:lnTo>
                    <a:pt x="66" y="36"/>
                  </a:lnTo>
                  <a:lnTo>
                    <a:pt x="102" y="30"/>
                  </a:lnTo>
                  <a:lnTo>
                    <a:pt x="100" y="63"/>
                  </a:lnTo>
                  <a:lnTo>
                    <a:pt x="137" y="88"/>
                  </a:lnTo>
                  <a:lnTo>
                    <a:pt x="133" y="138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4" name="Freeform 206"/>
            <p:cNvSpPr>
              <a:spLocks noChangeAspect="1"/>
            </p:cNvSpPr>
            <p:nvPr/>
          </p:nvSpPr>
          <p:spPr bwMode="gray">
            <a:xfrm>
              <a:off x="4491171" y="3267909"/>
              <a:ext cx="392050" cy="436334"/>
            </a:xfrm>
            <a:custGeom>
              <a:avLst/>
              <a:gdLst>
                <a:gd name="T0" fmla="*/ 0 w 543"/>
                <a:gd name="T1" fmla="*/ 23 h 505"/>
                <a:gd name="T2" fmla="*/ 0 w 543"/>
                <a:gd name="T3" fmla="*/ 9 h 505"/>
                <a:gd name="T4" fmla="*/ 1 w 543"/>
                <a:gd name="T5" fmla="*/ 0 h 505"/>
                <a:gd name="T6" fmla="*/ 4 w 543"/>
                <a:gd name="T7" fmla="*/ 3 h 505"/>
                <a:gd name="T8" fmla="*/ 4 w 543"/>
                <a:gd name="T9" fmla="*/ 6 h 505"/>
                <a:gd name="T10" fmla="*/ 7 w 543"/>
                <a:gd name="T11" fmla="*/ 9 h 505"/>
                <a:gd name="T12" fmla="*/ 8 w 543"/>
                <a:gd name="T13" fmla="*/ 8 h 505"/>
                <a:gd name="T14" fmla="*/ 8 w 543"/>
                <a:gd name="T15" fmla="*/ 4 h 505"/>
                <a:gd name="T16" fmla="*/ 8 w 543"/>
                <a:gd name="T17" fmla="*/ 2 h 505"/>
                <a:gd name="T18" fmla="*/ 11 w 543"/>
                <a:gd name="T19" fmla="*/ 5 h 505"/>
                <a:gd name="T20" fmla="*/ 11 w 543"/>
                <a:gd name="T21" fmla="*/ 10 h 505"/>
                <a:gd name="T22" fmla="*/ 11 w 543"/>
                <a:gd name="T23" fmla="*/ 37 h 505"/>
                <a:gd name="T24" fmla="*/ 11 w 543"/>
                <a:gd name="T25" fmla="*/ 43 h 505"/>
                <a:gd name="T26" fmla="*/ 10 w 543"/>
                <a:gd name="T27" fmla="*/ 43 h 505"/>
                <a:gd name="T28" fmla="*/ 10 w 543"/>
                <a:gd name="T29" fmla="*/ 45 h 505"/>
                <a:gd name="T30" fmla="*/ 5 w 543"/>
                <a:gd name="T31" fmla="*/ 32 h 505"/>
                <a:gd name="T32" fmla="*/ 4 w 543"/>
                <a:gd name="T33" fmla="*/ 33 h 505"/>
                <a:gd name="T34" fmla="*/ 2 w 543"/>
                <a:gd name="T35" fmla="*/ 32 h 505"/>
                <a:gd name="T36" fmla="*/ 0 w 543"/>
                <a:gd name="T37" fmla="*/ 23 h 50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43"/>
                <a:gd name="T58" fmla="*/ 0 h 505"/>
                <a:gd name="T59" fmla="*/ 543 w 543"/>
                <a:gd name="T60" fmla="*/ 505 h 50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43" h="505">
                  <a:moveTo>
                    <a:pt x="0" y="263"/>
                  </a:moveTo>
                  <a:lnTo>
                    <a:pt x="1" y="108"/>
                  </a:lnTo>
                  <a:lnTo>
                    <a:pt x="70" y="0"/>
                  </a:lnTo>
                  <a:lnTo>
                    <a:pt x="199" y="31"/>
                  </a:lnTo>
                  <a:lnTo>
                    <a:pt x="224" y="69"/>
                  </a:lnTo>
                  <a:lnTo>
                    <a:pt x="329" y="108"/>
                  </a:lnTo>
                  <a:lnTo>
                    <a:pt x="363" y="95"/>
                  </a:lnTo>
                  <a:lnTo>
                    <a:pt x="366" y="40"/>
                  </a:lnTo>
                  <a:lnTo>
                    <a:pt x="400" y="14"/>
                  </a:lnTo>
                  <a:lnTo>
                    <a:pt x="543" y="57"/>
                  </a:lnTo>
                  <a:lnTo>
                    <a:pt x="527" y="117"/>
                  </a:lnTo>
                  <a:lnTo>
                    <a:pt x="543" y="413"/>
                  </a:lnTo>
                  <a:lnTo>
                    <a:pt x="543" y="483"/>
                  </a:lnTo>
                  <a:lnTo>
                    <a:pt x="512" y="485"/>
                  </a:lnTo>
                  <a:lnTo>
                    <a:pt x="512" y="505"/>
                  </a:lnTo>
                  <a:lnTo>
                    <a:pt x="234" y="362"/>
                  </a:lnTo>
                  <a:lnTo>
                    <a:pt x="197" y="376"/>
                  </a:lnTo>
                  <a:lnTo>
                    <a:pt x="82" y="359"/>
                  </a:lnTo>
                  <a:lnTo>
                    <a:pt x="0" y="26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5" name="Freeform 207"/>
            <p:cNvSpPr>
              <a:spLocks noChangeAspect="1"/>
            </p:cNvSpPr>
            <p:nvPr/>
          </p:nvSpPr>
          <p:spPr bwMode="gray">
            <a:xfrm>
              <a:off x="5333465" y="4656546"/>
              <a:ext cx="180710" cy="418084"/>
            </a:xfrm>
            <a:custGeom>
              <a:avLst/>
              <a:gdLst>
                <a:gd name="T0" fmla="*/ 0 w 244"/>
                <a:gd name="T1" fmla="*/ 32 h 482"/>
                <a:gd name="T2" fmla="*/ 0 w 244"/>
                <a:gd name="T3" fmla="*/ 42 h 482"/>
                <a:gd name="T4" fmla="*/ 2 w 244"/>
                <a:gd name="T5" fmla="*/ 45 h 482"/>
                <a:gd name="T6" fmla="*/ 4 w 244"/>
                <a:gd name="T7" fmla="*/ 42 h 482"/>
                <a:gd name="T8" fmla="*/ 7 w 244"/>
                <a:gd name="T9" fmla="*/ 10 h 482"/>
                <a:gd name="T10" fmla="*/ 7 w 244"/>
                <a:gd name="T11" fmla="*/ 12 h 482"/>
                <a:gd name="T12" fmla="*/ 6 w 244"/>
                <a:gd name="T13" fmla="*/ 0 h 482"/>
                <a:gd name="T14" fmla="*/ 5 w 244"/>
                <a:gd name="T15" fmla="*/ 5 h 482"/>
                <a:gd name="T16" fmla="*/ 5 w 244"/>
                <a:gd name="T17" fmla="*/ 8 h 482"/>
                <a:gd name="T18" fmla="*/ 3 w 244"/>
                <a:gd name="T19" fmla="*/ 12 h 482"/>
                <a:gd name="T20" fmla="*/ 1 w 244"/>
                <a:gd name="T21" fmla="*/ 14 h 482"/>
                <a:gd name="T22" fmla="*/ 0 w 244"/>
                <a:gd name="T23" fmla="*/ 18 h 482"/>
                <a:gd name="T24" fmla="*/ 1 w 244"/>
                <a:gd name="T25" fmla="*/ 26 h 482"/>
                <a:gd name="T26" fmla="*/ 0 w 244"/>
                <a:gd name="T27" fmla="*/ 32 h 48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4"/>
                <a:gd name="T43" fmla="*/ 0 h 482"/>
                <a:gd name="T44" fmla="*/ 244 w 244"/>
                <a:gd name="T45" fmla="*/ 482 h 48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4" h="482">
                  <a:moveTo>
                    <a:pt x="0" y="344"/>
                  </a:moveTo>
                  <a:lnTo>
                    <a:pt x="22" y="443"/>
                  </a:lnTo>
                  <a:lnTo>
                    <a:pt x="67" y="482"/>
                  </a:lnTo>
                  <a:lnTo>
                    <a:pt x="143" y="443"/>
                  </a:lnTo>
                  <a:lnTo>
                    <a:pt x="228" y="112"/>
                  </a:lnTo>
                  <a:lnTo>
                    <a:pt x="244" y="124"/>
                  </a:lnTo>
                  <a:lnTo>
                    <a:pt x="208" y="0"/>
                  </a:lnTo>
                  <a:lnTo>
                    <a:pt x="164" y="52"/>
                  </a:lnTo>
                  <a:lnTo>
                    <a:pt x="165" y="88"/>
                  </a:lnTo>
                  <a:lnTo>
                    <a:pt x="110" y="128"/>
                  </a:lnTo>
                  <a:lnTo>
                    <a:pt x="43" y="145"/>
                  </a:lnTo>
                  <a:lnTo>
                    <a:pt x="24" y="187"/>
                  </a:lnTo>
                  <a:lnTo>
                    <a:pt x="43" y="272"/>
                  </a:lnTo>
                  <a:lnTo>
                    <a:pt x="0" y="34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6" name="Freeform 208"/>
            <p:cNvSpPr>
              <a:spLocks noChangeAspect="1"/>
            </p:cNvSpPr>
            <p:nvPr/>
          </p:nvSpPr>
          <p:spPr bwMode="gray">
            <a:xfrm>
              <a:off x="5079245" y="4573593"/>
              <a:ext cx="78104" cy="233928"/>
            </a:xfrm>
            <a:custGeom>
              <a:avLst/>
              <a:gdLst>
                <a:gd name="T0" fmla="*/ 0 w 112"/>
                <a:gd name="T1" fmla="*/ 13 h 271"/>
                <a:gd name="T2" fmla="*/ 0 w 112"/>
                <a:gd name="T3" fmla="*/ 15 h 271"/>
                <a:gd name="T4" fmla="*/ 0 w 112"/>
                <a:gd name="T5" fmla="*/ 16 h 271"/>
                <a:gd name="T6" fmla="*/ 0 w 112"/>
                <a:gd name="T7" fmla="*/ 20 h 271"/>
                <a:gd name="T8" fmla="*/ 1 w 112"/>
                <a:gd name="T9" fmla="*/ 24 h 271"/>
                <a:gd name="T10" fmla="*/ 1 w 112"/>
                <a:gd name="T11" fmla="*/ 17 h 271"/>
                <a:gd name="T12" fmla="*/ 1 w 112"/>
                <a:gd name="T13" fmla="*/ 12 h 271"/>
                <a:gd name="T14" fmla="*/ 1 w 112"/>
                <a:gd name="T15" fmla="*/ 15 h 271"/>
                <a:gd name="T16" fmla="*/ 1 w 112"/>
                <a:gd name="T17" fmla="*/ 15 h 271"/>
                <a:gd name="T18" fmla="*/ 0 w 112"/>
                <a:gd name="T19" fmla="*/ 9 h 271"/>
                <a:gd name="T20" fmla="*/ 0 w 112"/>
                <a:gd name="T21" fmla="*/ 1 h 271"/>
                <a:gd name="T22" fmla="*/ 0 w 112"/>
                <a:gd name="T23" fmla="*/ 0 h 271"/>
                <a:gd name="T24" fmla="*/ 0 w 112"/>
                <a:gd name="T25" fmla="*/ 4 h 271"/>
                <a:gd name="T26" fmla="*/ 0 w 112"/>
                <a:gd name="T27" fmla="*/ 13 h 27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12"/>
                <a:gd name="T43" fmla="*/ 0 h 271"/>
                <a:gd name="T44" fmla="*/ 112 w 112"/>
                <a:gd name="T45" fmla="*/ 271 h 27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12" h="271">
                  <a:moveTo>
                    <a:pt x="0" y="148"/>
                  </a:moveTo>
                  <a:lnTo>
                    <a:pt x="15" y="165"/>
                  </a:lnTo>
                  <a:lnTo>
                    <a:pt x="59" y="178"/>
                  </a:lnTo>
                  <a:lnTo>
                    <a:pt x="53" y="231"/>
                  </a:lnTo>
                  <a:lnTo>
                    <a:pt x="91" y="271"/>
                  </a:lnTo>
                  <a:lnTo>
                    <a:pt x="112" y="194"/>
                  </a:lnTo>
                  <a:lnTo>
                    <a:pt x="76" y="143"/>
                  </a:lnTo>
                  <a:lnTo>
                    <a:pt x="87" y="172"/>
                  </a:lnTo>
                  <a:lnTo>
                    <a:pt x="66" y="170"/>
                  </a:lnTo>
                  <a:lnTo>
                    <a:pt x="43" y="100"/>
                  </a:lnTo>
                  <a:lnTo>
                    <a:pt x="42" y="7"/>
                  </a:lnTo>
                  <a:lnTo>
                    <a:pt x="8" y="0"/>
                  </a:lnTo>
                  <a:lnTo>
                    <a:pt x="35" y="45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7" name="Freeform 209"/>
            <p:cNvSpPr>
              <a:spLocks noChangeAspect="1"/>
            </p:cNvSpPr>
            <p:nvPr/>
          </p:nvSpPr>
          <p:spPr bwMode="gray">
            <a:xfrm>
              <a:off x="3958228" y="3531701"/>
              <a:ext cx="404301" cy="454584"/>
            </a:xfrm>
            <a:custGeom>
              <a:avLst/>
              <a:gdLst>
                <a:gd name="T0" fmla="*/ 0 w 561"/>
                <a:gd name="T1" fmla="*/ 32 h 527"/>
                <a:gd name="T2" fmla="*/ 0 w 561"/>
                <a:gd name="T3" fmla="*/ 29 h 527"/>
                <a:gd name="T4" fmla="*/ 1 w 561"/>
                <a:gd name="T5" fmla="*/ 31 h 527"/>
                <a:gd name="T6" fmla="*/ 4 w 561"/>
                <a:gd name="T7" fmla="*/ 30 h 527"/>
                <a:gd name="T8" fmla="*/ 4 w 561"/>
                <a:gd name="T9" fmla="*/ 0 h 527"/>
                <a:gd name="T10" fmla="*/ 5 w 561"/>
                <a:gd name="T11" fmla="*/ 0 h 527"/>
                <a:gd name="T12" fmla="*/ 10 w 561"/>
                <a:gd name="T13" fmla="*/ 16 h 527"/>
                <a:gd name="T14" fmla="*/ 10 w 561"/>
                <a:gd name="T15" fmla="*/ 19 h 527"/>
                <a:gd name="T16" fmla="*/ 11 w 561"/>
                <a:gd name="T17" fmla="*/ 19 h 527"/>
                <a:gd name="T18" fmla="*/ 11 w 561"/>
                <a:gd name="T19" fmla="*/ 28 h 527"/>
                <a:gd name="T20" fmla="*/ 11 w 561"/>
                <a:gd name="T21" fmla="*/ 30 h 527"/>
                <a:gd name="T22" fmla="*/ 8 w 561"/>
                <a:gd name="T23" fmla="*/ 31 h 527"/>
                <a:gd name="T24" fmla="*/ 6 w 561"/>
                <a:gd name="T25" fmla="*/ 37 h 527"/>
                <a:gd name="T26" fmla="*/ 5 w 561"/>
                <a:gd name="T27" fmla="*/ 45 h 527"/>
                <a:gd name="T28" fmla="*/ 4 w 561"/>
                <a:gd name="T29" fmla="*/ 44 h 527"/>
                <a:gd name="T30" fmla="*/ 3 w 561"/>
                <a:gd name="T31" fmla="*/ 46 h 527"/>
                <a:gd name="T32" fmla="*/ 2 w 561"/>
                <a:gd name="T33" fmla="*/ 38 h 527"/>
                <a:gd name="T34" fmla="*/ 1 w 561"/>
                <a:gd name="T35" fmla="*/ 41 h 527"/>
                <a:gd name="T36" fmla="*/ 0 w 561"/>
                <a:gd name="T37" fmla="*/ 39 h 527"/>
                <a:gd name="T38" fmla="*/ 0 w 561"/>
                <a:gd name="T39" fmla="*/ 32 h 52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1"/>
                <a:gd name="T61" fmla="*/ 0 h 527"/>
                <a:gd name="T62" fmla="*/ 561 w 561"/>
                <a:gd name="T63" fmla="*/ 527 h 52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1" h="527">
                  <a:moveTo>
                    <a:pt x="0" y="365"/>
                  </a:moveTo>
                  <a:lnTo>
                    <a:pt x="23" y="328"/>
                  </a:lnTo>
                  <a:lnTo>
                    <a:pt x="51" y="353"/>
                  </a:lnTo>
                  <a:lnTo>
                    <a:pt x="226" y="342"/>
                  </a:lnTo>
                  <a:lnTo>
                    <a:pt x="189" y="0"/>
                  </a:lnTo>
                  <a:lnTo>
                    <a:pt x="250" y="0"/>
                  </a:lnTo>
                  <a:lnTo>
                    <a:pt x="529" y="185"/>
                  </a:lnTo>
                  <a:lnTo>
                    <a:pt x="532" y="217"/>
                  </a:lnTo>
                  <a:lnTo>
                    <a:pt x="560" y="212"/>
                  </a:lnTo>
                  <a:lnTo>
                    <a:pt x="561" y="321"/>
                  </a:lnTo>
                  <a:lnTo>
                    <a:pt x="538" y="344"/>
                  </a:lnTo>
                  <a:lnTo>
                    <a:pt x="425" y="359"/>
                  </a:lnTo>
                  <a:lnTo>
                    <a:pt x="282" y="421"/>
                  </a:lnTo>
                  <a:lnTo>
                    <a:pt x="238" y="521"/>
                  </a:lnTo>
                  <a:lnTo>
                    <a:pt x="203" y="508"/>
                  </a:lnTo>
                  <a:lnTo>
                    <a:pt x="141" y="527"/>
                  </a:lnTo>
                  <a:lnTo>
                    <a:pt x="106" y="444"/>
                  </a:lnTo>
                  <a:lnTo>
                    <a:pt x="47" y="464"/>
                  </a:lnTo>
                  <a:lnTo>
                    <a:pt x="25" y="447"/>
                  </a:lnTo>
                  <a:lnTo>
                    <a:pt x="0" y="36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8" name="Freeform 210"/>
            <p:cNvSpPr>
              <a:spLocks noChangeAspect="1"/>
            </p:cNvSpPr>
            <p:nvPr/>
          </p:nvSpPr>
          <p:spPr bwMode="gray">
            <a:xfrm>
              <a:off x="3834181" y="3460361"/>
              <a:ext cx="304757" cy="386562"/>
            </a:xfrm>
            <a:custGeom>
              <a:avLst/>
              <a:gdLst>
                <a:gd name="T0" fmla="*/ 0 w 419"/>
                <a:gd name="T1" fmla="*/ 20 h 448"/>
                <a:gd name="T2" fmla="*/ 0 w 419"/>
                <a:gd name="T3" fmla="*/ 22 h 448"/>
                <a:gd name="T4" fmla="*/ 0 w 419"/>
                <a:gd name="T5" fmla="*/ 28 h 448"/>
                <a:gd name="T6" fmla="*/ 0 w 419"/>
                <a:gd name="T7" fmla="*/ 35 h 448"/>
                <a:gd name="T8" fmla="*/ 2 w 419"/>
                <a:gd name="T9" fmla="*/ 33 h 448"/>
                <a:gd name="T10" fmla="*/ 4 w 419"/>
                <a:gd name="T11" fmla="*/ 39 h 448"/>
                <a:gd name="T12" fmla="*/ 4 w 419"/>
                <a:gd name="T13" fmla="*/ 36 h 448"/>
                <a:gd name="T14" fmla="*/ 5 w 419"/>
                <a:gd name="T15" fmla="*/ 38 h 448"/>
                <a:gd name="T16" fmla="*/ 9 w 419"/>
                <a:gd name="T17" fmla="*/ 37 h 448"/>
                <a:gd name="T18" fmla="*/ 8 w 419"/>
                <a:gd name="T19" fmla="*/ 7 h 448"/>
                <a:gd name="T20" fmla="*/ 9 w 419"/>
                <a:gd name="T21" fmla="*/ 7 h 448"/>
                <a:gd name="T22" fmla="*/ 7 w 419"/>
                <a:gd name="T23" fmla="*/ 0 h 448"/>
                <a:gd name="T24" fmla="*/ 6 w 419"/>
                <a:gd name="T25" fmla="*/ 4 h 448"/>
                <a:gd name="T26" fmla="*/ 4 w 419"/>
                <a:gd name="T27" fmla="*/ 4 h 448"/>
                <a:gd name="T28" fmla="*/ 4 w 419"/>
                <a:gd name="T29" fmla="*/ 12 h 448"/>
                <a:gd name="T30" fmla="*/ 3 w 419"/>
                <a:gd name="T31" fmla="*/ 14 h 448"/>
                <a:gd name="T32" fmla="*/ 3 w 419"/>
                <a:gd name="T33" fmla="*/ 18 h 448"/>
                <a:gd name="T34" fmla="*/ 0 w 419"/>
                <a:gd name="T35" fmla="*/ 20 h 44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19"/>
                <a:gd name="T55" fmla="*/ 0 h 448"/>
                <a:gd name="T56" fmla="*/ 419 w 419"/>
                <a:gd name="T57" fmla="*/ 448 h 44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19" h="448">
                  <a:moveTo>
                    <a:pt x="0" y="225"/>
                  </a:moveTo>
                  <a:lnTo>
                    <a:pt x="25" y="251"/>
                  </a:lnTo>
                  <a:lnTo>
                    <a:pt x="30" y="318"/>
                  </a:lnTo>
                  <a:lnTo>
                    <a:pt x="11" y="403"/>
                  </a:lnTo>
                  <a:lnTo>
                    <a:pt x="89" y="384"/>
                  </a:lnTo>
                  <a:lnTo>
                    <a:pt x="169" y="448"/>
                  </a:lnTo>
                  <a:lnTo>
                    <a:pt x="192" y="411"/>
                  </a:lnTo>
                  <a:lnTo>
                    <a:pt x="220" y="436"/>
                  </a:lnTo>
                  <a:lnTo>
                    <a:pt x="395" y="425"/>
                  </a:lnTo>
                  <a:lnTo>
                    <a:pt x="358" y="83"/>
                  </a:lnTo>
                  <a:lnTo>
                    <a:pt x="419" y="83"/>
                  </a:lnTo>
                  <a:lnTo>
                    <a:pt x="291" y="0"/>
                  </a:lnTo>
                  <a:lnTo>
                    <a:pt x="288" y="45"/>
                  </a:lnTo>
                  <a:lnTo>
                    <a:pt x="177" y="43"/>
                  </a:lnTo>
                  <a:lnTo>
                    <a:pt x="175" y="137"/>
                  </a:lnTo>
                  <a:lnTo>
                    <a:pt x="136" y="154"/>
                  </a:lnTo>
                  <a:lnTo>
                    <a:pt x="138" y="211"/>
                  </a:lnTo>
                  <a:lnTo>
                    <a:pt x="0" y="22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09" name="Freeform 211"/>
            <p:cNvSpPr>
              <a:spLocks noChangeAspect="1"/>
            </p:cNvSpPr>
            <p:nvPr/>
          </p:nvSpPr>
          <p:spPr bwMode="gray">
            <a:xfrm>
              <a:off x="3935256" y="3183297"/>
              <a:ext cx="290974" cy="262132"/>
            </a:xfrm>
            <a:custGeom>
              <a:avLst/>
              <a:gdLst>
                <a:gd name="T0" fmla="*/ 0 w 407"/>
                <a:gd name="T1" fmla="*/ 23 h 307"/>
                <a:gd name="T2" fmla="*/ 2 w 407"/>
                <a:gd name="T3" fmla="*/ 19 h 307"/>
                <a:gd name="T4" fmla="*/ 2 w 407"/>
                <a:gd name="T5" fmla="*/ 9 h 307"/>
                <a:gd name="T6" fmla="*/ 4 w 407"/>
                <a:gd name="T7" fmla="*/ 5 h 307"/>
                <a:gd name="T8" fmla="*/ 4 w 407"/>
                <a:gd name="T9" fmla="*/ 0 h 307"/>
                <a:gd name="T10" fmla="*/ 7 w 407"/>
                <a:gd name="T11" fmla="*/ 2 h 307"/>
                <a:gd name="T12" fmla="*/ 7 w 407"/>
                <a:gd name="T13" fmla="*/ 10 h 307"/>
                <a:gd name="T14" fmla="*/ 6 w 407"/>
                <a:gd name="T15" fmla="*/ 10 h 307"/>
                <a:gd name="T16" fmla="*/ 6 w 407"/>
                <a:gd name="T17" fmla="*/ 11 h 307"/>
                <a:gd name="T18" fmla="*/ 6 w 407"/>
                <a:gd name="T19" fmla="*/ 13 h 307"/>
                <a:gd name="T20" fmla="*/ 3 w 407"/>
                <a:gd name="T21" fmla="*/ 19 h 307"/>
                <a:gd name="T22" fmla="*/ 3 w 407"/>
                <a:gd name="T23" fmla="*/ 23 h 307"/>
                <a:gd name="T24" fmla="*/ 0 w 407"/>
                <a:gd name="T25" fmla="*/ 23 h 30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07"/>
                <a:gd name="T40" fmla="*/ 0 h 307"/>
                <a:gd name="T41" fmla="*/ 407 w 407"/>
                <a:gd name="T42" fmla="*/ 307 h 30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07" h="307">
                  <a:moveTo>
                    <a:pt x="0" y="303"/>
                  </a:moveTo>
                  <a:lnTo>
                    <a:pt x="100" y="244"/>
                  </a:lnTo>
                  <a:lnTo>
                    <a:pt x="136" y="122"/>
                  </a:lnTo>
                  <a:lnTo>
                    <a:pt x="221" y="61"/>
                  </a:lnTo>
                  <a:lnTo>
                    <a:pt x="249" y="0"/>
                  </a:lnTo>
                  <a:lnTo>
                    <a:pt x="374" y="19"/>
                  </a:lnTo>
                  <a:lnTo>
                    <a:pt x="407" y="134"/>
                  </a:lnTo>
                  <a:lnTo>
                    <a:pt x="351" y="137"/>
                  </a:lnTo>
                  <a:lnTo>
                    <a:pt x="321" y="149"/>
                  </a:lnTo>
                  <a:lnTo>
                    <a:pt x="326" y="180"/>
                  </a:lnTo>
                  <a:lnTo>
                    <a:pt x="170" y="248"/>
                  </a:lnTo>
                  <a:lnTo>
                    <a:pt x="151" y="307"/>
                  </a:lnTo>
                  <a:lnTo>
                    <a:pt x="0" y="30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0" name="Freeform 212"/>
            <p:cNvSpPr>
              <a:spLocks noChangeAspect="1"/>
            </p:cNvSpPr>
            <p:nvPr/>
          </p:nvSpPr>
          <p:spPr bwMode="gray">
            <a:xfrm>
              <a:off x="5007267" y="4605115"/>
              <a:ext cx="264940" cy="501037"/>
            </a:xfrm>
            <a:custGeom>
              <a:avLst/>
              <a:gdLst>
                <a:gd name="T0" fmla="*/ 0 w 365"/>
                <a:gd name="T1" fmla="*/ 15 h 578"/>
                <a:gd name="T2" fmla="*/ 0 w 365"/>
                <a:gd name="T3" fmla="*/ 17 h 578"/>
                <a:gd name="T4" fmla="*/ 2 w 365"/>
                <a:gd name="T5" fmla="*/ 19 h 578"/>
                <a:gd name="T6" fmla="*/ 2 w 365"/>
                <a:gd name="T7" fmla="*/ 22 h 578"/>
                <a:gd name="T8" fmla="*/ 2 w 365"/>
                <a:gd name="T9" fmla="*/ 31 h 578"/>
                <a:gd name="T10" fmla="*/ 1 w 365"/>
                <a:gd name="T11" fmla="*/ 40 h 578"/>
                <a:gd name="T12" fmla="*/ 1 w 365"/>
                <a:gd name="T13" fmla="*/ 51 h 578"/>
                <a:gd name="T14" fmla="*/ 1 w 365"/>
                <a:gd name="T15" fmla="*/ 54 h 578"/>
                <a:gd name="T16" fmla="*/ 2 w 365"/>
                <a:gd name="T17" fmla="*/ 54 h 578"/>
                <a:gd name="T18" fmla="*/ 2 w 365"/>
                <a:gd name="T19" fmla="*/ 51 h 578"/>
                <a:gd name="T20" fmla="*/ 4 w 365"/>
                <a:gd name="T21" fmla="*/ 46 h 578"/>
                <a:gd name="T22" fmla="*/ 4 w 365"/>
                <a:gd name="T23" fmla="*/ 31 h 578"/>
                <a:gd name="T24" fmla="*/ 8 w 365"/>
                <a:gd name="T25" fmla="*/ 17 h 578"/>
                <a:gd name="T26" fmla="*/ 8 w 365"/>
                <a:gd name="T27" fmla="*/ 0 h 578"/>
                <a:gd name="T28" fmla="*/ 7 w 365"/>
                <a:gd name="T29" fmla="*/ 3 h 578"/>
                <a:gd name="T30" fmla="*/ 4 w 365"/>
                <a:gd name="T31" fmla="*/ 4 h 578"/>
                <a:gd name="T32" fmla="*/ 4 w 365"/>
                <a:gd name="T33" fmla="*/ 10 h 578"/>
                <a:gd name="T34" fmla="*/ 4 w 365"/>
                <a:gd name="T35" fmla="*/ 15 h 578"/>
                <a:gd name="T36" fmla="*/ 4 w 365"/>
                <a:gd name="T37" fmla="*/ 22 h 578"/>
                <a:gd name="T38" fmla="*/ 3 w 365"/>
                <a:gd name="T39" fmla="*/ 18 h 578"/>
                <a:gd name="T40" fmla="*/ 3 w 365"/>
                <a:gd name="T41" fmla="*/ 13 h 578"/>
                <a:gd name="T42" fmla="*/ 2 w 365"/>
                <a:gd name="T43" fmla="*/ 12 h 578"/>
                <a:gd name="T44" fmla="*/ 0 w 365"/>
                <a:gd name="T45" fmla="*/ 15 h 57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5"/>
                <a:gd name="T70" fmla="*/ 0 h 578"/>
                <a:gd name="T71" fmla="*/ 365 w 365"/>
                <a:gd name="T72" fmla="*/ 578 h 57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5" h="578">
                  <a:moveTo>
                    <a:pt x="0" y="161"/>
                  </a:moveTo>
                  <a:lnTo>
                    <a:pt x="10" y="179"/>
                  </a:lnTo>
                  <a:lnTo>
                    <a:pt x="95" y="206"/>
                  </a:lnTo>
                  <a:lnTo>
                    <a:pt x="104" y="242"/>
                  </a:lnTo>
                  <a:lnTo>
                    <a:pt x="99" y="334"/>
                  </a:lnTo>
                  <a:lnTo>
                    <a:pt x="54" y="430"/>
                  </a:lnTo>
                  <a:lnTo>
                    <a:pt x="67" y="543"/>
                  </a:lnTo>
                  <a:lnTo>
                    <a:pt x="71" y="578"/>
                  </a:lnTo>
                  <a:lnTo>
                    <a:pt x="98" y="578"/>
                  </a:lnTo>
                  <a:lnTo>
                    <a:pt x="98" y="540"/>
                  </a:lnTo>
                  <a:lnTo>
                    <a:pt x="188" y="488"/>
                  </a:lnTo>
                  <a:lnTo>
                    <a:pt x="162" y="334"/>
                  </a:lnTo>
                  <a:lnTo>
                    <a:pt x="362" y="178"/>
                  </a:lnTo>
                  <a:lnTo>
                    <a:pt x="365" y="0"/>
                  </a:lnTo>
                  <a:lnTo>
                    <a:pt x="314" y="31"/>
                  </a:lnTo>
                  <a:lnTo>
                    <a:pt x="175" y="40"/>
                  </a:lnTo>
                  <a:lnTo>
                    <a:pt x="172" y="105"/>
                  </a:lnTo>
                  <a:lnTo>
                    <a:pt x="208" y="156"/>
                  </a:lnTo>
                  <a:lnTo>
                    <a:pt x="187" y="233"/>
                  </a:lnTo>
                  <a:lnTo>
                    <a:pt x="149" y="193"/>
                  </a:lnTo>
                  <a:lnTo>
                    <a:pt x="155" y="140"/>
                  </a:lnTo>
                  <a:lnTo>
                    <a:pt x="111" y="127"/>
                  </a:lnTo>
                  <a:lnTo>
                    <a:pt x="0" y="16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1" name="Freeform 213"/>
            <p:cNvSpPr>
              <a:spLocks noChangeAspect="1"/>
            </p:cNvSpPr>
            <p:nvPr/>
          </p:nvSpPr>
          <p:spPr bwMode="gray">
            <a:xfrm>
              <a:off x="4264517" y="3578154"/>
              <a:ext cx="396644" cy="363335"/>
            </a:xfrm>
            <a:custGeom>
              <a:avLst/>
              <a:gdLst>
                <a:gd name="T0" fmla="*/ 0 w 551"/>
                <a:gd name="T1" fmla="*/ 28 h 420"/>
                <a:gd name="T2" fmla="*/ 0 w 551"/>
                <a:gd name="T3" fmla="*/ 31 h 420"/>
                <a:gd name="T4" fmla="*/ 1 w 551"/>
                <a:gd name="T5" fmla="*/ 37 h 420"/>
                <a:gd name="T6" fmla="*/ 2 w 551"/>
                <a:gd name="T7" fmla="*/ 36 h 420"/>
                <a:gd name="T8" fmla="*/ 2 w 551"/>
                <a:gd name="T9" fmla="*/ 39 h 420"/>
                <a:gd name="T10" fmla="*/ 3 w 551"/>
                <a:gd name="T11" fmla="*/ 31 h 420"/>
                <a:gd name="T12" fmla="*/ 6 w 551"/>
                <a:gd name="T13" fmla="*/ 35 h 420"/>
                <a:gd name="T14" fmla="*/ 8 w 551"/>
                <a:gd name="T15" fmla="*/ 31 h 420"/>
                <a:gd name="T16" fmla="*/ 9 w 551"/>
                <a:gd name="T17" fmla="*/ 30 h 420"/>
                <a:gd name="T18" fmla="*/ 10 w 551"/>
                <a:gd name="T19" fmla="*/ 21 h 420"/>
                <a:gd name="T20" fmla="*/ 11 w 551"/>
                <a:gd name="T21" fmla="*/ 10 h 420"/>
                <a:gd name="T22" fmla="*/ 10 w 551"/>
                <a:gd name="T23" fmla="*/ 7 h 420"/>
                <a:gd name="T24" fmla="*/ 10 w 551"/>
                <a:gd name="T25" fmla="*/ 2 h 420"/>
                <a:gd name="T26" fmla="*/ 8 w 551"/>
                <a:gd name="T27" fmla="*/ 0 h 420"/>
                <a:gd name="T28" fmla="*/ 4 w 551"/>
                <a:gd name="T29" fmla="*/ 13 h 420"/>
                <a:gd name="T30" fmla="*/ 3 w 551"/>
                <a:gd name="T31" fmla="*/ 15 h 420"/>
                <a:gd name="T32" fmla="*/ 3 w 551"/>
                <a:gd name="T33" fmla="*/ 25 h 420"/>
                <a:gd name="T34" fmla="*/ 2 w 551"/>
                <a:gd name="T35" fmla="*/ 27 h 420"/>
                <a:gd name="T36" fmla="*/ 0 w 551"/>
                <a:gd name="T37" fmla="*/ 28 h 42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1"/>
                <a:gd name="T58" fmla="*/ 0 h 420"/>
                <a:gd name="T59" fmla="*/ 551 w 551"/>
                <a:gd name="T60" fmla="*/ 420 h 42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1" h="420">
                  <a:moveTo>
                    <a:pt x="0" y="305"/>
                  </a:moveTo>
                  <a:lnTo>
                    <a:pt x="8" y="339"/>
                  </a:lnTo>
                  <a:lnTo>
                    <a:pt x="75" y="411"/>
                  </a:lnTo>
                  <a:lnTo>
                    <a:pt x="92" y="395"/>
                  </a:lnTo>
                  <a:lnTo>
                    <a:pt x="119" y="420"/>
                  </a:lnTo>
                  <a:lnTo>
                    <a:pt x="160" y="348"/>
                  </a:lnTo>
                  <a:lnTo>
                    <a:pt x="317" y="384"/>
                  </a:lnTo>
                  <a:lnTo>
                    <a:pt x="453" y="346"/>
                  </a:lnTo>
                  <a:lnTo>
                    <a:pt x="458" y="327"/>
                  </a:lnTo>
                  <a:lnTo>
                    <a:pt x="529" y="236"/>
                  </a:lnTo>
                  <a:lnTo>
                    <a:pt x="551" y="111"/>
                  </a:lnTo>
                  <a:lnTo>
                    <a:pt x="514" y="72"/>
                  </a:lnTo>
                  <a:lnTo>
                    <a:pt x="514" y="17"/>
                  </a:lnTo>
                  <a:lnTo>
                    <a:pt x="399" y="0"/>
                  </a:lnTo>
                  <a:lnTo>
                    <a:pt x="189" y="145"/>
                  </a:lnTo>
                  <a:lnTo>
                    <a:pt x="135" y="158"/>
                  </a:lnTo>
                  <a:lnTo>
                    <a:pt x="136" y="267"/>
                  </a:lnTo>
                  <a:lnTo>
                    <a:pt x="113" y="290"/>
                  </a:lnTo>
                  <a:lnTo>
                    <a:pt x="0" y="305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2" name="Freeform 214"/>
            <p:cNvSpPr>
              <a:spLocks noChangeAspect="1"/>
            </p:cNvSpPr>
            <p:nvPr/>
          </p:nvSpPr>
          <p:spPr bwMode="gray">
            <a:xfrm>
              <a:off x="4331900" y="3876786"/>
              <a:ext cx="287911" cy="290336"/>
            </a:xfrm>
            <a:custGeom>
              <a:avLst/>
              <a:gdLst>
                <a:gd name="T0" fmla="*/ 0 w 402"/>
                <a:gd name="T1" fmla="*/ 24 h 335"/>
                <a:gd name="T2" fmla="*/ 0 w 402"/>
                <a:gd name="T3" fmla="*/ 7 h 335"/>
                <a:gd name="T4" fmla="*/ 1 w 402"/>
                <a:gd name="T5" fmla="*/ 1 h 335"/>
                <a:gd name="T6" fmla="*/ 4 w 402"/>
                <a:gd name="T7" fmla="*/ 4 h 335"/>
                <a:gd name="T8" fmla="*/ 7 w 402"/>
                <a:gd name="T9" fmla="*/ 0 h 335"/>
                <a:gd name="T10" fmla="*/ 7 w 402"/>
                <a:gd name="T11" fmla="*/ 4 h 335"/>
                <a:gd name="T12" fmla="*/ 7 w 402"/>
                <a:gd name="T13" fmla="*/ 7 h 335"/>
                <a:gd name="T14" fmla="*/ 7 w 402"/>
                <a:gd name="T15" fmla="*/ 9 h 335"/>
                <a:gd name="T16" fmla="*/ 5 w 402"/>
                <a:gd name="T17" fmla="*/ 24 h 335"/>
                <a:gd name="T18" fmla="*/ 4 w 402"/>
                <a:gd name="T19" fmla="*/ 22 h 335"/>
                <a:gd name="T20" fmla="*/ 3 w 402"/>
                <a:gd name="T21" fmla="*/ 29 h 335"/>
                <a:gd name="T22" fmla="*/ 2 w 402"/>
                <a:gd name="T23" fmla="*/ 31 h 335"/>
                <a:gd name="T24" fmla="*/ 1 w 402"/>
                <a:gd name="T25" fmla="*/ 25 h 335"/>
                <a:gd name="T26" fmla="*/ 0 w 402"/>
                <a:gd name="T27" fmla="*/ 24 h 3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2"/>
                <a:gd name="T43" fmla="*/ 0 h 335"/>
                <a:gd name="T44" fmla="*/ 402 w 402"/>
                <a:gd name="T45" fmla="*/ 335 h 3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2" h="335">
                  <a:moveTo>
                    <a:pt x="0" y="261"/>
                  </a:moveTo>
                  <a:lnTo>
                    <a:pt x="27" y="74"/>
                  </a:lnTo>
                  <a:lnTo>
                    <a:pt x="68" y="2"/>
                  </a:lnTo>
                  <a:lnTo>
                    <a:pt x="225" y="38"/>
                  </a:lnTo>
                  <a:lnTo>
                    <a:pt x="361" y="0"/>
                  </a:lnTo>
                  <a:lnTo>
                    <a:pt x="388" y="44"/>
                  </a:lnTo>
                  <a:lnTo>
                    <a:pt x="402" y="74"/>
                  </a:lnTo>
                  <a:lnTo>
                    <a:pt x="367" y="101"/>
                  </a:lnTo>
                  <a:lnTo>
                    <a:pt x="295" y="252"/>
                  </a:lnTo>
                  <a:lnTo>
                    <a:pt x="230" y="242"/>
                  </a:lnTo>
                  <a:lnTo>
                    <a:pt x="192" y="316"/>
                  </a:lnTo>
                  <a:lnTo>
                    <a:pt x="115" y="335"/>
                  </a:lnTo>
                  <a:lnTo>
                    <a:pt x="68" y="269"/>
                  </a:lnTo>
                  <a:lnTo>
                    <a:pt x="0" y="26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3" name="Freeform 215"/>
            <p:cNvSpPr>
              <a:spLocks noChangeAspect="1"/>
            </p:cNvSpPr>
            <p:nvPr/>
          </p:nvSpPr>
          <p:spPr bwMode="gray">
            <a:xfrm>
              <a:off x="3841838" y="3913285"/>
              <a:ext cx="76572" cy="51431"/>
            </a:xfrm>
            <a:custGeom>
              <a:avLst/>
              <a:gdLst>
                <a:gd name="T0" fmla="*/ 0 w 104"/>
                <a:gd name="T1" fmla="*/ 1 h 62"/>
                <a:gd name="T2" fmla="*/ 0 w 104"/>
                <a:gd name="T3" fmla="*/ 2 h 62"/>
                <a:gd name="T4" fmla="*/ 1 w 104"/>
                <a:gd name="T5" fmla="*/ 2 h 62"/>
                <a:gd name="T6" fmla="*/ 1 w 104"/>
                <a:gd name="T7" fmla="*/ 2 h 62"/>
                <a:gd name="T8" fmla="*/ 1 w 104"/>
                <a:gd name="T9" fmla="*/ 4 h 62"/>
                <a:gd name="T10" fmla="*/ 3 w 104"/>
                <a:gd name="T11" fmla="*/ 2 h 62"/>
                <a:gd name="T12" fmla="*/ 3 w 104"/>
                <a:gd name="T13" fmla="*/ 0 h 62"/>
                <a:gd name="T14" fmla="*/ 0 w 104"/>
                <a:gd name="T15" fmla="*/ 1 h 6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4"/>
                <a:gd name="T25" fmla="*/ 0 h 62"/>
                <a:gd name="T26" fmla="*/ 104 w 104"/>
                <a:gd name="T27" fmla="*/ 62 h 6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4" h="62">
                  <a:moveTo>
                    <a:pt x="0" y="8"/>
                  </a:moveTo>
                  <a:lnTo>
                    <a:pt x="29" y="35"/>
                  </a:lnTo>
                  <a:lnTo>
                    <a:pt x="64" y="26"/>
                  </a:lnTo>
                  <a:lnTo>
                    <a:pt x="44" y="35"/>
                  </a:lnTo>
                  <a:lnTo>
                    <a:pt x="60" y="62"/>
                  </a:lnTo>
                  <a:lnTo>
                    <a:pt x="103" y="35"/>
                  </a:lnTo>
                  <a:lnTo>
                    <a:pt x="104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4" name="Freeform 216"/>
            <p:cNvSpPr>
              <a:spLocks noChangeAspect="1"/>
            </p:cNvSpPr>
            <p:nvPr/>
          </p:nvSpPr>
          <p:spPr bwMode="gray">
            <a:xfrm>
              <a:off x="5526427" y="3496860"/>
              <a:ext cx="15314" cy="48113"/>
            </a:xfrm>
            <a:custGeom>
              <a:avLst/>
              <a:gdLst>
                <a:gd name="T0" fmla="*/ 0 w 19"/>
                <a:gd name="T1" fmla="*/ 4 h 56"/>
                <a:gd name="T2" fmla="*/ 1 w 19"/>
                <a:gd name="T3" fmla="*/ 5 h 56"/>
                <a:gd name="T4" fmla="*/ 2 w 19"/>
                <a:gd name="T5" fmla="*/ 5 h 56"/>
                <a:gd name="T6" fmla="*/ 1 w 19"/>
                <a:gd name="T7" fmla="*/ 0 h 56"/>
                <a:gd name="T8" fmla="*/ 0 w 19"/>
                <a:gd name="T9" fmla="*/ 4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56"/>
                <a:gd name="T17" fmla="*/ 19 w 19"/>
                <a:gd name="T18" fmla="*/ 56 h 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56">
                  <a:moveTo>
                    <a:pt x="0" y="47"/>
                  </a:moveTo>
                  <a:lnTo>
                    <a:pt x="9" y="56"/>
                  </a:lnTo>
                  <a:lnTo>
                    <a:pt x="19" y="54"/>
                  </a:lnTo>
                  <a:lnTo>
                    <a:pt x="11" y="0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5" name="Freeform 217"/>
            <p:cNvSpPr>
              <a:spLocks noChangeAspect="1"/>
            </p:cNvSpPr>
            <p:nvPr/>
          </p:nvSpPr>
          <p:spPr bwMode="gray">
            <a:xfrm>
              <a:off x="4985827" y="4323074"/>
              <a:ext cx="42880" cy="48113"/>
            </a:xfrm>
            <a:custGeom>
              <a:avLst/>
              <a:gdLst>
                <a:gd name="T0" fmla="*/ 0 w 58"/>
                <a:gd name="T1" fmla="*/ 5 h 56"/>
                <a:gd name="T2" fmla="*/ 0 w 58"/>
                <a:gd name="T3" fmla="*/ 1 h 56"/>
                <a:gd name="T4" fmla="*/ 1 w 58"/>
                <a:gd name="T5" fmla="*/ 0 h 56"/>
                <a:gd name="T6" fmla="*/ 1 w 58"/>
                <a:gd name="T7" fmla="*/ 4 h 56"/>
                <a:gd name="T8" fmla="*/ 0 w 58"/>
                <a:gd name="T9" fmla="*/ 5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56"/>
                <a:gd name="T17" fmla="*/ 58 w 58"/>
                <a:gd name="T18" fmla="*/ 56 h 5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56">
                  <a:moveTo>
                    <a:pt x="0" y="56"/>
                  </a:moveTo>
                  <a:lnTo>
                    <a:pt x="23" y="10"/>
                  </a:lnTo>
                  <a:lnTo>
                    <a:pt x="50" y="0"/>
                  </a:lnTo>
                  <a:lnTo>
                    <a:pt x="58" y="4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6" name="Freeform 218"/>
            <p:cNvSpPr>
              <a:spLocks noChangeAspect="1"/>
            </p:cNvSpPr>
            <p:nvPr/>
          </p:nvSpPr>
          <p:spPr bwMode="gray">
            <a:xfrm>
              <a:off x="3820398" y="3792174"/>
              <a:ext cx="157739" cy="126089"/>
            </a:xfrm>
            <a:custGeom>
              <a:avLst/>
              <a:gdLst>
                <a:gd name="T0" fmla="*/ 0 w 215"/>
                <a:gd name="T1" fmla="*/ 6 h 146"/>
                <a:gd name="T2" fmla="*/ 1 w 215"/>
                <a:gd name="T3" fmla="*/ 9 h 146"/>
                <a:gd name="T4" fmla="*/ 3 w 215"/>
                <a:gd name="T5" fmla="*/ 10 h 146"/>
                <a:gd name="T6" fmla="*/ 0 w 215"/>
                <a:gd name="T7" fmla="*/ 11 h 146"/>
                <a:gd name="T8" fmla="*/ 0 w 215"/>
                <a:gd name="T9" fmla="*/ 13 h 146"/>
                <a:gd name="T10" fmla="*/ 3 w 215"/>
                <a:gd name="T11" fmla="*/ 12 h 146"/>
                <a:gd name="T12" fmla="*/ 5 w 215"/>
                <a:gd name="T13" fmla="*/ 13 h 146"/>
                <a:gd name="T14" fmla="*/ 5 w 215"/>
                <a:gd name="T15" fmla="*/ 6 h 146"/>
                <a:gd name="T16" fmla="*/ 3 w 215"/>
                <a:gd name="T17" fmla="*/ 0 h 146"/>
                <a:gd name="T18" fmla="*/ 1 w 215"/>
                <a:gd name="T19" fmla="*/ 2 h 146"/>
                <a:gd name="T20" fmla="*/ 0 w 215"/>
                <a:gd name="T21" fmla="*/ 6 h 1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5"/>
                <a:gd name="T34" fmla="*/ 0 h 146"/>
                <a:gd name="T35" fmla="*/ 215 w 215"/>
                <a:gd name="T36" fmla="*/ 146 h 14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5" h="146">
                  <a:moveTo>
                    <a:pt x="0" y="64"/>
                  </a:moveTo>
                  <a:lnTo>
                    <a:pt x="32" y="105"/>
                  </a:lnTo>
                  <a:lnTo>
                    <a:pt x="131" y="113"/>
                  </a:lnTo>
                  <a:lnTo>
                    <a:pt x="28" y="126"/>
                  </a:lnTo>
                  <a:lnTo>
                    <a:pt x="28" y="146"/>
                  </a:lnTo>
                  <a:lnTo>
                    <a:pt x="132" y="138"/>
                  </a:lnTo>
                  <a:lnTo>
                    <a:pt x="215" y="146"/>
                  </a:lnTo>
                  <a:lnTo>
                    <a:pt x="190" y="64"/>
                  </a:lnTo>
                  <a:lnTo>
                    <a:pt x="110" y="0"/>
                  </a:lnTo>
                  <a:lnTo>
                    <a:pt x="32" y="19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7" name="Freeform 219"/>
            <p:cNvSpPr>
              <a:spLocks noChangeAspect="1"/>
            </p:cNvSpPr>
            <p:nvPr/>
          </p:nvSpPr>
          <p:spPr bwMode="gray">
            <a:xfrm>
              <a:off x="3927599" y="3996239"/>
              <a:ext cx="79635" cy="91249"/>
            </a:xfrm>
            <a:custGeom>
              <a:avLst/>
              <a:gdLst>
                <a:gd name="T0" fmla="*/ 0 w 106"/>
                <a:gd name="T1" fmla="*/ 3 h 104"/>
                <a:gd name="T2" fmla="*/ 0 w 106"/>
                <a:gd name="T3" fmla="*/ 8 h 104"/>
                <a:gd name="T4" fmla="*/ 2 w 106"/>
                <a:gd name="T5" fmla="*/ 12 h 104"/>
                <a:gd name="T6" fmla="*/ 4 w 106"/>
                <a:gd name="T7" fmla="*/ 6 h 104"/>
                <a:gd name="T8" fmla="*/ 2 w 106"/>
                <a:gd name="T9" fmla="*/ 0 h 104"/>
                <a:gd name="T10" fmla="*/ 0 w 106"/>
                <a:gd name="T11" fmla="*/ 3 h 1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6"/>
                <a:gd name="T19" fmla="*/ 0 h 104"/>
                <a:gd name="T20" fmla="*/ 106 w 106"/>
                <a:gd name="T21" fmla="*/ 104 h 1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6" h="104">
                  <a:moveTo>
                    <a:pt x="0" y="29"/>
                  </a:moveTo>
                  <a:lnTo>
                    <a:pt x="11" y="71"/>
                  </a:lnTo>
                  <a:lnTo>
                    <a:pt x="64" y="104"/>
                  </a:lnTo>
                  <a:lnTo>
                    <a:pt x="106" y="53"/>
                  </a:lnTo>
                  <a:lnTo>
                    <a:pt x="72" y="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8" name="Freeform 220"/>
            <p:cNvSpPr>
              <a:spLocks noChangeAspect="1"/>
            </p:cNvSpPr>
            <p:nvPr/>
          </p:nvSpPr>
          <p:spPr bwMode="gray">
            <a:xfrm>
              <a:off x="5285990" y="3934853"/>
              <a:ext cx="254220" cy="409789"/>
            </a:xfrm>
            <a:custGeom>
              <a:avLst/>
              <a:gdLst>
                <a:gd name="T0" fmla="*/ 0 w 355"/>
                <a:gd name="T1" fmla="*/ 44 h 471"/>
                <a:gd name="T2" fmla="*/ 0 w 355"/>
                <a:gd name="T3" fmla="*/ 31 h 471"/>
                <a:gd name="T4" fmla="*/ 0 w 355"/>
                <a:gd name="T5" fmla="*/ 27 h 471"/>
                <a:gd name="T6" fmla="*/ 2 w 355"/>
                <a:gd name="T7" fmla="*/ 24 h 471"/>
                <a:gd name="T8" fmla="*/ 4 w 355"/>
                <a:gd name="T9" fmla="*/ 14 h 471"/>
                <a:gd name="T10" fmla="*/ 2 w 355"/>
                <a:gd name="T11" fmla="*/ 10 h 471"/>
                <a:gd name="T12" fmla="*/ 1 w 355"/>
                <a:gd name="T13" fmla="*/ 4 h 471"/>
                <a:gd name="T14" fmla="*/ 1 w 355"/>
                <a:gd name="T15" fmla="*/ 2 h 471"/>
                <a:gd name="T16" fmla="*/ 2 w 355"/>
                <a:gd name="T17" fmla="*/ 5 h 471"/>
                <a:gd name="T18" fmla="*/ 6 w 355"/>
                <a:gd name="T19" fmla="*/ 0 h 471"/>
                <a:gd name="T20" fmla="*/ 7 w 355"/>
                <a:gd name="T21" fmla="*/ 5 h 471"/>
                <a:gd name="T22" fmla="*/ 4 w 355"/>
                <a:gd name="T23" fmla="*/ 27 h 471"/>
                <a:gd name="T24" fmla="*/ 0 w 355"/>
                <a:gd name="T25" fmla="*/ 47 h 471"/>
                <a:gd name="T26" fmla="*/ 0 w 355"/>
                <a:gd name="T27" fmla="*/ 44 h 47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55"/>
                <a:gd name="T43" fmla="*/ 0 h 471"/>
                <a:gd name="T44" fmla="*/ 355 w 355"/>
                <a:gd name="T45" fmla="*/ 471 h 47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55" h="471">
                  <a:moveTo>
                    <a:pt x="0" y="443"/>
                  </a:moveTo>
                  <a:lnTo>
                    <a:pt x="0" y="316"/>
                  </a:lnTo>
                  <a:lnTo>
                    <a:pt x="28" y="278"/>
                  </a:lnTo>
                  <a:lnTo>
                    <a:pt x="137" y="240"/>
                  </a:lnTo>
                  <a:lnTo>
                    <a:pt x="243" y="135"/>
                  </a:lnTo>
                  <a:lnTo>
                    <a:pt x="106" y="101"/>
                  </a:lnTo>
                  <a:lnTo>
                    <a:pt x="64" y="38"/>
                  </a:lnTo>
                  <a:lnTo>
                    <a:pt x="78" y="17"/>
                  </a:lnTo>
                  <a:lnTo>
                    <a:pt x="133" y="55"/>
                  </a:lnTo>
                  <a:lnTo>
                    <a:pt x="339" y="0"/>
                  </a:lnTo>
                  <a:lnTo>
                    <a:pt x="355" y="55"/>
                  </a:lnTo>
                  <a:lnTo>
                    <a:pt x="230" y="275"/>
                  </a:lnTo>
                  <a:lnTo>
                    <a:pt x="17" y="471"/>
                  </a:lnTo>
                  <a:lnTo>
                    <a:pt x="0" y="44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19" name="Freeform 221"/>
            <p:cNvSpPr>
              <a:spLocks noChangeAspect="1"/>
            </p:cNvSpPr>
            <p:nvPr/>
          </p:nvSpPr>
          <p:spPr bwMode="gray">
            <a:xfrm>
              <a:off x="4884752" y="4762726"/>
              <a:ext cx="199088" cy="217337"/>
            </a:xfrm>
            <a:custGeom>
              <a:avLst/>
              <a:gdLst>
                <a:gd name="T0" fmla="*/ 0 w 273"/>
                <a:gd name="T1" fmla="*/ 7 h 251"/>
                <a:gd name="T2" fmla="*/ 1 w 273"/>
                <a:gd name="T3" fmla="*/ 7 h 251"/>
                <a:gd name="T4" fmla="*/ 3 w 273"/>
                <a:gd name="T5" fmla="*/ 3 h 251"/>
                <a:gd name="T6" fmla="*/ 3 w 273"/>
                <a:gd name="T7" fmla="*/ 2 h 251"/>
                <a:gd name="T8" fmla="*/ 4 w 273"/>
                <a:gd name="T9" fmla="*/ 0 h 251"/>
                <a:gd name="T10" fmla="*/ 6 w 273"/>
                <a:gd name="T11" fmla="*/ 3 h 251"/>
                <a:gd name="T12" fmla="*/ 6 w 273"/>
                <a:gd name="T13" fmla="*/ 6 h 251"/>
                <a:gd name="T14" fmla="*/ 6 w 273"/>
                <a:gd name="T15" fmla="*/ 15 h 251"/>
                <a:gd name="T16" fmla="*/ 5 w 273"/>
                <a:gd name="T17" fmla="*/ 23 h 251"/>
                <a:gd name="T18" fmla="*/ 3 w 273"/>
                <a:gd name="T19" fmla="*/ 21 h 251"/>
                <a:gd name="T20" fmla="*/ 2 w 273"/>
                <a:gd name="T21" fmla="*/ 20 h 251"/>
                <a:gd name="T22" fmla="*/ 0 w 273"/>
                <a:gd name="T23" fmla="*/ 7 h 2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73"/>
                <a:gd name="T37" fmla="*/ 0 h 251"/>
                <a:gd name="T38" fmla="*/ 273 w 273"/>
                <a:gd name="T39" fmla="*/ 251 h 25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73" h="251">
                  <a:moveTo>
                    <a:pt x="0" y="77"/>
                  </a:moveTo>
                  <a:lnTo>
                    <a:pt x="61" y="79"/>
                  </a:lnTo>
                  <a:lnTo>
                    <a:pt x="122" y="33"/>
                  </a:lnTo>
                  <a:lnTo>
                    <a:pt x="126" y="14"/>
                  </a:lnTo>
                  <a:lnTo>
                    <a:pt x="179" y="0"/>
                  </a:lnTo>
                  <a:lnTo>
                    <a:pt x="264" y="27"/>
                  </a:lnTo>
                  <a:lnTo>
                    <a:pt x="273" y="63"/>
                  </a:lnTo>
                  <a:lnTo>
                    <a:pt x="268" y="155"/>
                  </a:lnTo>
                  <a:lnTo>
                    <a:pt x="223" y="251"/>
                  </a:lnTo>
                  <a:lnTo>
                    <a:pt x="144" y="234"/>
                  </a:lnTo>
                  <a:lnTo>
                    <a:pt x="97" y="211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0" name="Freeform 222"/>
            <p:cNvSpPr>
              <a:spLocks noChangeAspect="1"/>
            </p:cNvSpPr>
            <p:nvPr/>
          </p:nvSpPr>
          <p:spPr bwMode="gray">
            <a:xfrm>
              <a:off x="4546303" y="4800885"/>
              <a:ext cx="338449" cy="386562"/>
            </a:xfrm>
            <a:custGeom>
              <a:avLst/>
              <a:gdLst>
                <a:gd name="T0" fmla="*/ 0 w 471"/>
                <a:gd name="T1" fmla="*/ 2 h 442"/>
                <a:gd name="T2" fmla="*/ 1 w 471"/>
                <a:gd name="T3" fmla="*/ 0 h 442"/>
                <a:gd name="T4" fmla="*/ 7 w 471"/>
                <a:gd name="T5" fmla="*/ 4 h 442"/>
                <a:gd name="T6" fmla="*/ 8 w 471"/>
                <a:gd name="T7" fmla="*/ 3 h 442"/>
                <a:gd name="T8" fmla="*/ 9 w 471"/>
                <a:gd name="T9" fmla="*/ 3 h 442"/>
                <a:gd name="T10" fmla="*/ 8 w 471"/>
                <a:gd name="T11" fmla="*/ 7 h 442"/>
                <a:gd name="T12" fmla="*/ 7 w 471"/>
                <a:gd name="T13" fmla="*/ 4 h 442"/>
                <a:gd name="T14" fmla="*/ 6 w 471"/>
                <a:gd name="T15" fmla="*/ 6 h 442"/>
                <a:gd name="T16" fmla="*/ 6 w 471"/>
                <a:gd name="T17" fmla="*/ 20 h 442"/>
                <a:gd name="T18" fmla="*/ 5 w 471"/>
                <a:gd name="T19" fmla="*/ 20 h 442"/>
                <a:gd name="T20" fmla="*/ 5 w 471"/>
                <a:gd name="T21" fmla="*/ 30 h 442"/>
                <a:gd name="T22" fmla="*/ 5 w 471"/>
                <a:gd name="T23" fmla="*/ 45 h 442"/>
                <a:gd name="T24" fmla="*/ 5 w 471"/>
                <a:gd name="T25" fmla="*/ 47 h 442"/>
                <a:gd name="T26" fmla="*/ 4 w 471"/>
                <a:gd name="T27" fmla="*/ 47 h 442"/>
                <a:gd name="T28" fmla="*/ 4 w 471"/>
                <a:gd name="T29" fmla="*/ 44 h 442"/>
                <a:gd name="T30" fmla="*/ 3 w 471"/>
                <a:gd name="T31" fmla="*/ 46 h 442"/>
                <a:gd name="T32" fmla="*/ 2 w 471"/>
                <a:gd name="T33" fmla="*/ 41 h 442"/>
                <a:gd name="T34" fmla="*/ 2 w 471"/>
                <a:gd name="T35" fmla="*/ 24 h 442"/>
                <a:gd name="T36" fmla="*/ 2 w 471"/>
                <a:gd name="T37" fmla="*/ 22 h 442"/>
                <a:gd name="T38" fmla="*/ 0 w 471"/>
                <a:gd name="T39" fmla="*/ 2 h 44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71"/>
                <a:gd name="T61" fmla="*/ 0 h 442"/>
                <a:gd name="T62" fmla="*/ 471 w 471"/>
                <a:gd name="T63" fmla="*/ 442 h 44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71" h="442">
                  <a:moveTo>
                    <a:pt x="0" y="14"/>
                  </a:moveTo>
                  <a:lnTo>
                    <a:pt x="58" y="0"/>
                  </a:lnTo>
                  <a:lnTo>
                    <a:pt x="340" y="41"/>
                  </a:lnTo>
                  <a:lnTo>
                    <a:pt x="405" y="23"/>
                  </a:lnTo>
                  <a:lnTo>
                    <a:pt x="471" y="31"/>
                  </a:lnTo>
                  <a:lnTo>
                    <a:pt x="413" y="63"/>
                  </a:lnTo>
                  <a:lnTo>
                    <a:pt x="391" y="41"/>
                  </a:lnTo>
                  <a:lnTo>
                    <a:pt x="325" y="56"/>
                  </a:lnTo>
                  <a:lnTo>
                    <a:pt x="325" y="181"/>
                  </a:lnTo>
                  <a:lnTo>
                    <a:pt x="289" y="182"/>
                  </a:lnTo>
                  <a:lnTo>
                    <a:pt x="289" y="279"/>
                  </a:lnTo>
                  <a:lnTo>
                    <a:pt x="289" y="420"/>
                  </a:lnTo>
                  <a:lnTo>
                    <a:pt x="259" y="442"/>
                  </a:lnTo>
                  <a:lnTo>
                    <a:pt x="215" y="442"/>
                  </a:lnTo>
                  <a:lnTo>
                    <a:pt x="191" y="412"/>
                  </a:lnTo>
                  <a:lnTo>
                    <a:pt x="170" y="428"/>
                  </a:lnTo>
                  <a:lnTo>
                    <a:pt x="125" y="379"/>
                  </a:lnTo>
                  <a:lnTo>
                    <a:pt x="100" y="225"/>
                  </a:lnTo>
                  <a:lnTo>
                    <a:pt x="100" y="206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1" name="Freeform 223"/>
            <p:cNvSpPr>
              <a:spLocks noChangeAspect="1"/>
            </p:cNvSpPr>
            <p:nvPr/>
          </p:nvSpPr>
          <p:spPr bwMode="gray">
            <a:xfrm>
              <a:off x="3834181" y="3443770"/>
              <a:ext cx="209808" cy="210701"/>
            </a:xfrm>
            <a:custGeom>
              <a:avLst/>
              <a:gdLst>
                <a:gd name="T0" fmla="*/ 0 w 291"/>
                <a:gd name="T1" fmla="*/ 24 h 242"/>
                <a:gd name="T2" fmla="*/ 3 w 291"/>
                <a:gd name="T3" fmla="*/ 0 h 242"/>
                <a:gd name="T4" fmla="*/ 6 w 291"/>
                <a:gd name="T5" fmla="*/ 1 h 242"/>
                <a:gd name="T6" fmla="*/ 6 w 291"/>
                <a:gd name="T7" fmla="*/ 2 h 242"/>
                <a:gd name="T8" fmla="*/ 6 w 291"/>
                <a:gd name="T9" fmla="*/ 6 h 242"/>
                <a:gd name="T10" fmla="*/ 4 w 291"/>
                <a:gd name="T11" fmla="*/ 6 h 242"/>
                <a:gd name="T12" fmla="*/ 4 w 291"/>
                <a:gd name="T13" fmla="*/ 15 h 242"/>
                <a:gd name="T14" fmla="*/ 3 w 291"/>
                <a:gd name="T15" fmla="*/ 17 h 242"/>
                <a:gd name="T16" fmla="*/ 3 w 291"/>
                <a:gd name="T17" fmla="*/ 23 h 242"/>
                <a:gd name="T18" fmla="*/ 0 w 291"/>
                <a:gd name="T19" fmla="*/ 24 h 2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1"/>
                <a:gd name="T31" fmla="*/ 0 h 242"/>
                <a:gd name="T32" fmla="*/ 291 w 291"/>
                <a:gd name="T33" fmla="*/ 242 h 2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1" h="242">
                  <a:moveTo>
                    <a:pt x="0" y="242"/>
                  </a:moveTo>
                  <a:lnTo>
                    <a:pt x="137" y="0"/>
                  </a:lnTo>
                  <a:lnTo>
                    <a:pt x="288" y="4"/>
                  </a:lnTo>
                  <a:lnTo>
                    <a:pt x="291" y="17"/>
                  </a:lnTo>
                  <a:lnTo>
                    <a:pt x="288" y="62"/>
                  </a:lnTo>
                  <a:lnTo>
                    <a:pt x="177" y="60"/>
                  </a:lnTo>
                  <a:lnTo>
                    <a:pt x="175" y="154"/>
                  </a:lnTo>
                  <a:lnTo>
                    <a:pt x="136" y="171"/>
                  </a:lnTo>
                  <a:lnTo>
                    <a:pt x="138" y="228"/>
                  </a:lnTo>
                  <a:lnTo>
                    <a:pt x="0" y="24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2" name="Freeform 224"/>
            <p:cNvSpPr>
              <a:spLocks noChangeAspect="1"/>
            </p:cNvSpPr>
            <p:nvPr/>
          </p:nvSpPr>
          <p:spPr bwMode="gray">
            <a:xfrm>
              <a:off x="4806648" y="3594745"/>
              <a:ext cx="416553" cy="590627"/>
            </a:xfrm>
            <a:custGeom>
              <a:avLst/>
              <a:gdLst>
                <a:gd name="T0" fmla="*/ 0 w 576"/>
                <a:gd name="T1" fmla="*/ 32 h 684"/>
                <a:gd name="T2" fmla="*/ 0 w 576"/>
                <a:gd name="T3" fmla="*/ 38 h 684"/>
                <a:gd name="T4" fmla="*/ 1 w 576"/>
                <a:gd name="T5" fmla="*/ 44 h 684"/>
                <a:gd name="T6" fmla="*/ 2 w 576"/>
                <a:gd name="T7" fmla="*/ 47 h 684"/>
                <a:gd name="T8" fmla="*/ 4 w 576"/>
                <a:gd name="T9" fmla="*/ 56 h 684"/>
                <a:gd name="T10" fmla="*/ 6 w 576"/>
                <a:gd name="T11" fmla="*/ 60 h 684"/>
                <a:gd name="T12" fmla="*/ 9 w 576"/>
                <a:gd name="T13" fmla="*/ 59 h 684"/>
                <a:gd name="T14" fmla="*/ 10 w 576"/>
                <a:gd name="T15" fmla="*/ 57 h 684"/>
                <a:gd name="T16" fmla="*/ 9 w 576"/>
                <a:gd name="T17" fmla="*/ 51 h 684"/>
                <a:gd name="T18" fmla="*/ 8 w 576"/>
                <a:gd name="T19" fmla="*/ 47 h 684"/>
                <a:gd name="T20" fmla="*/ 9 w 576"/>
                <a:gd name="T21" fmla="*/ 45 h 684"/>
                <a:gd name="T22" fmla="*/ 9 w 576"/>
                <a:gd name="T23" fmla="*/ 40 h 684"/>
                <a:gd name="T24" fmla="*/ 10 w 576"/>
                <a:gd name="T25" fmla="*/ 32 h 684"/>
                <a:gd name="T26" fmla="*/ 11 w 576"/>
                <a:gd name="T27" fmla="*/ 19 h 684"/>
                <a:gd name="T28" fmla="*/ 12 w 576"/>
                <a:gd name="T29" fmla="*/ 16 h 684"/>
                <a:gd name="T30" fmla="*/ 11 w 576"/>
                <a:gd name="T31" fmla="*/ 14 h 684"/>
                <a:gd name="T32" fmla="*/ 11 w 576"/>
                <a:gd name="T33" fmla="*/ 3 h 684"/>
                <a:gd name="T34" fmla="*/ 9 w 576"/>
                <a:gd name="T35" fmla="*/ 0 h 684"/>
                <a:gd name="T36" fmla="*/ 9 w 576"/>
                <a:gd name="T37" fmla="*/ 4 h 684"/>
                <a:gd name="T38" fmla="*/ 2 w 576"/>
                <a:gd name="T39" fmla="*/ 3 h 684"/>
                <a:gd name="T40" fmla="*/ 2 w 576"/>
                <a:gd name="T41" fmla="*/ 9 h 684"/>
                <a:gd name="T42" fmla="*/ 1 w 576"/>
                <a:gd name="T43" fmla="*/ 10 h 684"/>
                <a:gd name="T44" fmla="*/ 1 w 576"/>
                <a:gd name="T45" fmla="*/ 11 h 684"/>
                <a:gd name="T46" fmla="*/ 1 w 576"/>
                <a:gd name="T47" fmla="*/ 23 h 684"/>
                <a:gd name="T48" fmla="*/ 0 w 576"/>
                <a:gd name="T49" fmla="*/ 23 h 684"/>
                <a:gd name="T50" fmla="*/ 0 w 576"/>
                <a:gd name="T51" fmla="*/ 32 h 68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76"/>
                <a:gd name="T79" fmla="*/ 0 h 684"/>
                <a:gd name="T80" fmla="*/ 576 w 576"/>
                <a:gd name="T81" fmla="*/ 684 h 68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76" h="684">
                  <a:moveTo>
                    <a:pt x="0" y="361"/>
                  </a:moveTo>
                  <a:lnTo>
                    <a:pt x="27" y="429"/>
                  </a:lnTo>
                  <a:lnTo>
                    <a:pt x="52" y="504"/>
                  </a:lnTo>
                  <a:lnTo>
                    <a:pt x="111" y="531"/>
                  </a:lnTo>
                  <a:lnTo>
                    <a:pt x="196" y="632"/>
                  </a:lnTo>
                  <a:lnTo>
                    <a:pt x="311" y="684"/>
                  </a:lnTo>
                  <a:lnTo>
                    <a:pt x="418" y="671"/>
                  </a:lnTo>
                  <a:lnTo>
                    <a:pt x="483" y="651"/>
                  </a:lnTo>
                  <a:lnTo>
                    <a:pt x="444" y="579"/>
                  </a:lnTo>
                  <a:lnTo>
                    <a:pt x="383" y="537"/>
                  </a:lnTo>
                  <a:lnTo>
                    <a:pt x="423" y="510"/>
                  </a:lnTo>
                  <a:lnTo>
                    <a:pt x="427" y="446"/>
                  </a:lnTo>
                  <a:lnTo>
                    <a:pt x="495" y="362"/>
                  </a:lnTo>
                  <a:lnTo>
                    <a:pt x="522" y="214"/>
                  </a:lnTo>
                  <a:lnTo>
                    <a:pt x="576" y="181"/>
                  </a:lnTo>
                  <a:lnTo>
                    <a:pt x="534" y="149"/>
                  </a:lnTo>
                  <a:lnTo>
                    <a:pt x="518" y="39"/>
                  </a:lnTo>
                  <a:lnTo>
                    <a:pt x="473" y="0"/>
                  </a:lnTo>
                  <a:lnTo>
                    <a:pt x="418" y="47"/>
                  </a:lnTo>
                  <a:lnTo>
                    <a:pt x="105" y="38"/>
                  </a:lnTo>
                  <a:lnTo>
                    <a:pt x="105" y="108"/>
                  </a:lnTo>
                  <a:lnTo>
                    <a:pt x="74" y="110"/>
                  </a:lnTo>
                  <a:lnTo>
                    <a:pt x="74" y="130"/>
                  </a:lnTo>
                  <a:lnTo>
                    <a:pt x="72" y="261"/>
                  </a:lnTo>
                  <a:lnTo>
                    <a:pt x="37" y="268"/>
                  </a:lnTo>
                  <a:lnTo>
                    <a:pt x="0" y="36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3" name="Freeform 225"/>
            <p:cNvSpPr>
              <a:spLocks noChangeAspect="1"/>
            </p:cNvSpPr>
            <p:nvPr/>
          </p:nvSpPr>
          <p:spPr bwMode="gray">
            <a:xfrm>
              <a:off x="5028707" y="5076290"/>
              <a:ext cx="32160" cy="51431"/>
            </a:xfrm>
            <a:custGeom>
              <a:avLst/>
              <a:gdLst>
                <a:gd name="T0" fmla="*/ 0 w 42"/>
                <a:gd name="T1" fmla="*/ 9 h 55"/>
                <a:gd name="T2" fmla="*/ 2 w 42"/>
                <a:gd name="T3" fmla="*/ 16 h 55"/>
                <a:gd name="T4" fmla="*/ 3 w 42"/>
                <a:gd name="T5" fmla="*/ 10 h 55"/>
                <a:gd name="T6" fmla="*/ 2 w 42"/>
                <a:gd name="T7" fmla="*/ 0 h 55"/>
                <a:gd name="T8" fmla="*/ 0 w 42"/>
                <a:gd name="T9" fmla="*/ 9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55"/>
                <a:gd name="T17" fmla="*/ 42 w 42"/>
                <a:gd name="T18" fmla="*/ 55 h 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55">
                  <a:moveTo>
                    <a:pt x="0" y="31"/>
                  </a:moveTo>
                  <a:lnTo>
                    <a:pt x="23" y="55"/>
                  </a:lnTo>
                  <a:lnTo>
                    <a:pt x="42" y="35"/>
                  </a:lnTo>
                  <a:lnTo>
                    <a:pt x="38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4" name="Freeform 226"/>
            <p:cNvSpPr>
              <a:spLocks noChangeAspect="1"/>
            </p:cNvSpPr>
            <p:nvPr/>
          </p:nvSpPr>
          <p:spPr bwMode="gray">
            <a:xfrm>
              <a:off x="5002673" y="4318097"/>
              <a:ext cx="269534" cy="323518"/>
            </a:xfrm>
            <a:custGeom>
              <a:avLst/>
              <a:gdLst>
                <a:gd name="T0" fmla="*/ 0 w 374"/>
                <a:gd name="T1" fmla="*/ 12 h 371"/>
                <a:gd name="T2" fmla="*/ 0 w 374"/>
                <a:gd name="T3" fmla="*/ 19 h 371"/>
                <a:gd name="T4" fmla="*/ 1 w 374"/>
                <a:gd name="T5" fmla="*/ 27 h 371"/>
                <a:gd name="T6" fmla="*/ 2 w 374"/>
                <a:gd name="T7" fmla="*/ 30 h 371"/>
                <a:gd name="T8" fmla="*/ 3 w 374"/>
                <a:gd name="T9" fmla="*/ 30 h 371"/>
                <a:gd name="T10" fmla="*/ 4 w 374"/>
                <a:gd name="T11" fmla="*/ 38 h 371"/>
                <a:gd name="T12" fmla="*/ 6 w 374"/>
                <a:gd name="T13" fmla="*/ 37 h 371"/>
                <a:gd name="T14" fmla="*/ 8 w 374"/>
                <a:gd name="T15" fmla="*/ 34 h 371"/>
                <a:gd name="T16" fmla="*/ 6 w 374"/>
                <a:gd name="T17" fmla="*/ 19 h 371"/>
                <a:gd name="T18" fmla="*/ 7 w 374"/>
                <a:gd name="T19" fmla="*/ 13 h 371"/>
                <a:gd name="T20" fmla="*/ 3 w 374"/>
                <a:gd name="T21" fmla="*/ 0 h 371"/>
                <a:gd name="T22" fmla="*/ 2 w 374"/>
                <a:gd name="T23" fmla="*/ 7 h 371"/>
                <a:gd name="T24" fmla="*/ 2 w 374"/>
                <a:gd name="T25" fmla="*/ 5 h 371"/>
                <a:gd name="T26" fmla="*/ 1 w 374"/>
                <a:gd name="T27" fmla="*/ 6 h 371"/>
                <a:gd name="T28" fmla="*/ 1 w 374"/>
                <a:gd name="T29" fmla="*/ 0 h 371"/>
                <a:gd name="T30" fmla="*/ 0 w 374"/>
                <a:gd name="T31" fmla="*/ 1 h 371"/>
                <a:gd name="T32" fmla="*/ 0 w 374"/>
                <a:gd name="T33" fmla="*/ 5 h 371"/>
                <a:gd name="T34" fmla="*/ 0 w 374"/>
                <a:gd name="T35" fmla="*/ 8 h 371"/>
                <a:gd name="T36" fmla="*/ 0 w 374"/>
                <a:gd name="T37" fmla="*/ 12 h 37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74"/>
                <a:gd name="T58" fmla="*/ 0 h 371"/>
                <a:gd name="T59" fmla="*/ 374 w 374"/>
                <a:gd name="T60" fmla="*/ 371 h 37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74" h="371">
                  <a:moveTo>
                    <a:pt x="0" y="118"/>
                  </a:moveTo>
                  <a:lnTo>
                    <a:pt x="3" y="189"/>
                  </a:lnTo>
                  <a:lnTo>
                    <a:pt x="48" y="262"/>
                  </a:lnTo>
                  <a:lnTo>
                    <a:pt x="113" y="293"/>
                  </a:lnTo>
                  <a:lnTo>
                    <a:pt x="147" y="300"/>
                  </a:lnTo>
                  <a:lnTo>
                    <a:pt x="184" y="371"/>
                  </a:lnTo>
                  <a:lnTo>
                    <a:pt x="323" y="362"/>
                  </a:lnTo>
                  <a:lnTo>
                    <a:pt x="374" y="331"/>
                  </a:lnTo>
                  <a:lnTo>
                    <a:pt x="322" y="185"/>
                  </a:lnTo>
                  <a:lnTo>
                    <a:pt x="335" y="129"/>
                  </a:lnTo>
                  <a:lnTo>
                    <a:pt x="157" y="0"/>
                  </a:lnTo>
                  <a:lnTo>
                    <a:pt x="110" y="64"/>
                  </a:lnTo>
                  <a:lnTo>
                    <a:pt x="89" y="47"/>
                  </a:lnTo>
                  <a:lnTo>
                    <a:pt x="76" y="62"/>
                  </a:lnTo>
                  <a:lnTo>
                    <a:pt x="74" y="0"/>
                  </a:lnTo>
                  <a:lnTo>
                    <a:pt x="28" y="3"/>
                  </a:lnTo>
                  <a:lnTo>
                    <a:pt x="36" y="49"/>
                  </a:lnTo>
                  <a:lnTo>
                    <a:pt x="38" y="7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5" name="Freeform 227"/>
            <p:cNvSpPr>
              <a:spLocks noChangeAspect="1"/>
            </p:cNvSpPr>
            <p:nvPr/>
          </p:nvSpPr>
          <p:spPr bwMode="gray">
            <a:xfrm>
              <a:off x="4253797" y="3954762"/>
              <a:ext cx="52069" cy="155952"/>
            </a:xfrm>
            <a:custGeom>
              <a:avLst/>
              <a:gdLst>
                <a:gd name="T0" fmla="*/ 0 w 74"/>
                <a:gd name="T1" fmla="*/ 0 h 177"/>
                <a:gd name="T2" fmla="*/ 0 w 74"/>
                <a:gd name="T3" fmla="*/ 1 h 177"/>
                <a:gd name="T4" fmla="*/ 1 w 74"/>
                <a:gd name="T5" fmla="*/ 20 h 177"/>
                <a:gd name="T6" fmla="*/ 0 w 74"/>
                <a:gd name="T7" fmla="*/ 21 h 177"/>
                <a:gd name="T8" fmla="*/ 0 w 74"/>
                <a:gd name="T9" fmla="*/ 0 h 1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177"/>
                <a:gd name="T17" fmla="*/ 74 w 74"/>
                <a:gd name="T18" fmla="*/ 177 h 17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177">
                  <a:moveTo>
                    <a:pt x="0" y="0"/>
                  </a:moveTo>
                  <a:lnTo>
                    <a:pt x="38" y="9"/>
                  </a:lnTo>
                  <a:lnTo>
                    <a:pt x="74" y="171"/>
                  </a:lnTo>
                  <a:lnTo>
                    <a:pt x="49" y="1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6" name="Freeform 228"/>
            <p:cNvSpPr>
              <a:spLocks noChangeAspect="1"/>
            </p:cNvSpPr>
            <p:nvPr/>
          </p:nvSpPr>
          <p:spPr bwMode="gray">
            <a:xfrm>
              <a:off x="5002673" y="4172100"/>
              <a:ext cx="134767" cy="157611"/>
            </a:xfrm>
            <a:custGeom>
              <a:avLst/>
              <a:gdLst>
                <a:gd name="T0" fmla="*/ 0 w 185"/>
                <a:gd name="T1" fmla="*/ 16 h 183"/>
                <a:gd name="T2" fmla="*/ 0 w 185"/>
                <a:gd name="T3" fmla="*/ 15 h 183"/>
                <a:gd name="T4" fmla="*/ 1 w 185"/>
                <a:gd name="T5" fmla="*/ 15 h 183"/>
                <a:gd name="T6" fmla="*/ 2 w 185"/>
                <a:gd name="T7" fmla="*/ 12 h 183"/>
                <a:gd name="T8" fmla="*/ 3 w 185"/>
                <a:gd name="T9" fmla="*/ 11 h 183"/>
                <a:gd name="T10" fmla="*/ 4 w 185"/>
                <a:gd name="T11" fmla="*/ 6 h 183"/>
                <a:gd name="T12" fmla="*/ 3 w 185"/>
                <a:gd name="T13" fmla="*/ 0 h 183"/>
                <a:gd name="T14" fmla="*/ 1 w 185"/>
                <a:gd name="T15" fmla="*/ 1 h 183"/>
                <a:gd name="T16" fmla="*/ 1 w 185"/>
                <a:gd name="T17" fmla="*/ 5 h 183"/>
                <a:gd name="T18" fmla="*/ 0 w 185"/>
                <a:gd name="T19" fmla="*/ 8 h 183"/>
                <a:gd name="T20" fmla="*/ 0 w 185"/>
                <a:gd name="T21" fmla="*/ 16 h 18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5"/>
                <a:gd name="T34" fmla="*/ 0 h 183"/>
                <a:gd name="T35" fmla="*/ 185 w 185"/>
                <a:gd name="T36" fmla="*/ 183 h 18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5" h="183">
                  <a:moveTo>
                    <a:pt x="0" y="183"/>
                  </a:moveTo>
                  <a:lnTo>
                    <a:pt x="27" y="173"/>
                  </a:lnTo>
                  <a:lnTo>
                    <a:pt x="73" y="170"/>
                  </a:lnTo>
                  <a:lnTo>
                    <a:pt x="75" y="145"/>
                  </a:lnTo>
                  <a:lnTo>
                    <a:pt x="147" y="130"/>
                  </a:lnTo>
                  <a:lnTo>
                    <a:pt x="185" y="68"/>
                  </a:lnTo>
                  <a:lnTo>
                    <a:pt x="147" y="0"/>
                  </a:lnTo>
                  <a:lnTo>
                    <a:pt x="40" y="13"/>
                  </a:lnTo>
                  <a:lnTo>
                    <a:pt x="53" y="63"/>
                  </a:lnTo>
                  <a:lnTo>
                    <a:pt x="30" y="96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7" name="Freeform 229"/>
            <p:cNvSpPr>
              <a:spLocks noChangeAspect="1"/>
            </p:cNvSpPr>
            <p:nvPr/>
          </p:nvSpPr>
          <p:spPr bwMode="gray">
            <a:xfrm>
              <a:off x="4869437" y="3317681"/>
              <a:ext cx="281786" cy="313563"/>
            </a:xfrm>
            <a:custGeom>
              <a:avLst/>
              <a:gdLst>
                <a:gd name="T0" fmla="*/ 0 w 389"/>
                <a:gd name="T1" fmla="*/ 5 h 365"/>
                <a:gd name="T2" fmla="*/ 0 w 389"/>
                <a:gd name="T3" fmla="*/ 29 h 365"/>
                <a:gd name="T4" fmla="*/ 7 w 389"/>
                <a:gd name="T5" fmla="*/ 30 h 365"/>
                <a:gd name="T6" fmla="*/ 8 w 389"/>
                <a:gd name="T7" fmla="*/ 26 h 365"/>
                <a:gd name="T8" fmla="*/ 9 w 389"/>
                <a:gd name="T9" fmla="*/ 24 h 365"/>
                <a:gd name="T10" fmla="*/ 6 w 389"/>
                <a:gd name="T11" fmla="*/ 6 h 365"/>
                <a:gd name="T12" fmla="*/ 7 w 389"/>
                <a:gd name="T13" fmla="*/ 12 h 365"/>
                <a:gd name="T14" fmla="*/ 8 w 389"/>
                <a:gd name="T15" fmla="*/ 7 h 365"/>
                <a:gd name="T16" fmla="*/ 7 w 389"/>
                <a:gd name="T17" fmla="*/ 1 h 365"/>
                <a:gd name="T18" fmla="*/ 5 w 389"/>
                <a:gd name="T19" fmla="*/ 2 h 365"/>
                <a:gd name="T20" fmla="*/ 5 w 389"/>
                <a:gd name="T21" fmla="*/ 1 h 365"/>
                <a:gd name="T22" fmla="*/ 4 w 389"/>
                <a:gd name="T23" fmla="*/ 1 h 365"/>
                <a:gd name="T24" fmla="*/ 3 w 389"/>
                <a:gd name="T25" fmla="*/ 3 h 365"/>
                <a:gd name="T26" fmla="*/ 0 w 389"/>
                <a:gd name="T27" fmla="*/ 0 h 365"/>
                <a:gd name="T28" fmla="*/ 0 w 389"/>
                <a:gd name="T29" fmla="*/ 5 h 36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9"/>
                <a:gd name="T46" fmla="*/ 0 h 365"/>
                <a:gd name="T47" fmla="*/ 389 w 389"/>
                <a:gd name="T48" fmla="*/ 365 h 36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9" h="365">
                  <a:moveTo>
                    <a:pt x="0" y="60"/>
                  </a:moveTo>
                  <a:lnTo>
                    <a:pt x="16" y="356"/>
                  </a:lnTo>
                  <a:lnTo>
                    <a:pt x="329" y="365"/>
                  </a:lnTo>
                  <a:lnTo>
                    <a:pt x="384" y="318"/>
                  </a:lnTo>
                  <a:lnTo>
                    <a:pt x="389" y="286"/>
                  </a:lnTo>
                  <a:lnTo>
                    <a:pt x="272" y="77"/>
                  </a:lnTo>
                  <a:lnTo>
                    <a:pt x="329" y="144"/>
                  </a:lnTo>
                  <a:lnTo>
                    <a:pt x="359" y="87"/>
                  </a:lnTo>
                  <a:lnTo>
                    <a:pt x="329" y="14"/>
                  </a:lnTo>
                  <a:lnTo>
                    <a:pt x="257" y="25"/>
                  </a:lnTo>
                  <a:lnTo>
                    <a:pt x="255" y="5"/>
                  </a:lnTo>
                  <a:lnTo>
                    <a:pt x="217" y="5"/>
                  </a:lnTo>
                  <a:lnTo>
                    <a:pt x="152" y="32"/>
                  </a:lnTo>
                  <a:lnTo>
                    <a:pt x="16" y="0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8" name="Freeform 230"/>
            <p:cNvSpPr>
              <a:spLocks noChangeAspect="1"/>
            </p:cNvSpPr>
            <p:nvPr/>
          </p:nvSpPr>
          <p:spPr bwMode="gray">
            <a:xfrm>
              <a:off x="4129750" y="3843605"/>
              <a:ext cx="188368" cy="162588"/>
            </a:xfrm>
            <a:custGeom>
              <a:avLst/>
              <a:gdLst>
                <a:gd name="T0" fmla="*/ 0 w 262"/>
                <a:gd name="T1" fmla="*/ 12 h 190"/>
                <a:gd name="T2" fmla="*/ 0 w 262"/>
                <a:gd name="T3" fmla="*/ 14 h 190"/>
                <a:gd name="T4" fmla="*/ 2 w 262"/>
                <a:gd name="T5" fmla="*/ 14 h 190"/>
                <a:gd name="T6" fmla="*/ 1 w 262"/>
                <a:gd name="T7" fmla="*/ 11 h 190"/>
                <a:gd name="T8" fmla="*/ 3 w 262"/>
                <a:gd name="T9" fmla="*/ 10 h 190"/>
                <a:gd name="T10" fmla="*/ 4 w 262"/>
                <a:gd name="T11" fmla="*/ 11 h 190"/>
                <a:gd name="T12" fmla="*/ 5 w 262"/>
                <a:gd name="T13" fmla="*/ 8 h 190"/>
                <a:gd name="T14" fmla="*/ 4 w 262"/>
                <a:gd name="T15" fmla="*/ 3 h 190"/>
                <a:gd name="T16" fmla="*/ 4 w 262"/>
                <a:gd name="T17" fmla="*/ 0 h 190"/>
                <a:gd name="T18" fmla="*/ 1 w 262"/>
                <a:gd name="T19" fmla="*/ 5 h 190"/>
                <a:gd name="T20" fmla="*/ 0 w 262"/>
                <a:gd name="T21" fmla="*/ 12 h 1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2"/>
                <a:gd name="T34" fmla="*/ 0 h 190"/>
                <a:gd name="T35" fmla="*/ 262 w 262"/>
                <a:gd name="T36" fmla="*/ 190 h 1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2" h="190">
                  <a:moveTo>
                    <a:pt x="0" y="162"/>
                  </a:moveTo>
                  <a:lnTo>
                    <a:pt x="18" y="183"/>
                  </a:lnTo>
                  <a:lnTo>
                    <a:pt x="88" y="190"/>
                  </a:lnTo>
                  <a:lnTo>
                    <a:pt x="81" y="142"/>
                  </a:lnTo>
                  <a:lnTo>
                    <a:pt x="174" y="133"/>
                  </a:lnTo>
                  <a:lnTo>
                    <a:pt x="212" y="142"/>
                  </a:lnTo>
                  <a:lnTo>
                    <a:pt x="262" y="106"/>
                  </a:lnTo>
                  <a:lnTo>
                    <a:pt x="195" y="34"/>
                  </a:lnTo>
                  <a:lnTo>
                    <a:pt x="187" y="0"/>
                  </a:lnTo>
                  <a:lnTo>
                    <a:pt x="44" y="62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29" name="Freeform 231"/>
            <p:cNvSpPr>
              <a:spLocks noChangeAspect="1"/>
            </p:cNvSpPr>
            <p:nvPr/>
          </p:nvSpPr>
          <p:spPr bwMode="gray">
            <a:xfrm>
              <a:off x="4806648" y="4533776"/>
              <a:ext cx="295569" cy="295313"/>
            </a:xfrm>
            <a:custGeom>
              <a:avLst/>
              <a:gdLst>
                <a:gd name="T0" fmla="*/ 0 w 409"/>
                <a:gd name="T1" fmla="*/ 17 h 339"/>
                <a:gd name="T2" fmla="*/ 0 w 409"/>
                <a:gd name="T3" fmla="*/ 30 h 339"/>
                <a:gd name="T4" fmla="*/ 1 w 409"/>
                <a:gd name="T5" fmla="*/ 33 h 339"/>
                <a:gd name="T6" fmla="*/ 2 w 409"/>
                <a:gd name="T7" fmla="*/ 34 h 339"/>
                <a:gd name="T8" fmla="*/ 4 w 409"/>
                <a:gd name="T9" fmla="*/ 34 h 339"/>
                <a:gd name="T10" fmla="*/ 5 w 409"/>
                <a:gd name="T11" fmla="*/ 29 h 339"/>
                <a:gd name="T12" fmla="*/ 5 w 409"/>
                <a:gd name="T13" fmla="*/ 28 h 339"/>
                <a:gd name="T14" fmla="*/ 6 w 409"/>
                <a:gd name="T15" fmla="*/ 26 h 339"/>
                <a:gd name="T16" fmla="*/ 6 w 409"/>
                <a:gd name="T17" fmla="*/ 25 h 339"/>
                <a:gd name="T18" fmla="*/ 8 w 409"/>
                <a:gd name="T19" fmla="*/ 21 h 339"/>
                <a:gd name="T20" fmla="*/ 8 w 409"/>
                <a:gd name="T21" fmla="*/ 19 h 339"/>
                <a:gd name="T22" fmla="*/ 8 w 409"/>
                <a:gd name="T23" fmla="*/ 9 h 339"/>
                <a:gd name="T24" fmla="*/ 8 w 409"/>
                <a:gd name="T25" fmla="*/ 4 h 339"/>
                <a:gd name="T26" fmla="*/ 7 w 409"/>
                <a:gd name="T27" fmla="*/ 1 h 339"/>
                <a:gd name="T28" fmla="*/ 6 w 409"/>
                <a:gd name="T29" fmla="*/ 0 h 339"/>
                <a:gd name="T30" fmla="*/ 5 w 409"/>
                <a:gd name="T31" fmla="*/ 3 h 339"/>
                <a:gd name="T32" fmla="*/ 5 w 409"/>
                <a:gd name="T33" fmla="*/ 13 h 339"/>
                <a:gd name="T34" fmla="*/ 6 w 409"/>
                <a:gd name="T35" fmla="*/ 14 h 339"/>
                <a:gd name="T36" fmla="*/ 6 w 409"/>
                <a:gd name="T37" fmla="*/ 18 h 339"/>
                <a:gd name="T38" fmla="*/ 1 w 409"/>
                <a:gd name="T39" fmla="*/ 9 h 339"/>
                <a:gd name="T40" fmla="*/ 1 w 409"/>
                <a:gd name="T41" fmla="*/ 17 h 339"/>
                <a:gd name="T42" fmla="*/ 0 w 409"/>
                <a:gd name="T43" fmla="*/ 17 h 3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09"/>
                <a:gd name="T67" fmla="*/ 0 h 339"/>
                <a:gd name="T68" fmla="*/ 409 w 409"/>
                <a:gd name="T69" fmla="*/ 339 h 3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09" h="339">
                  <a:moveTo>
                    <a:pt x="0" y="166"/>
                  </a:moveTo>
                  <a:lnTo>
                    <a:pt x="0" y="296"/>
                  </a:lnTo>
                  <a:lnTo>
                    <a:pt x="43" y="329"/>
                  </a:lnTo>
                  <a:lnTo>
                    <a:pt x="109" y="337"/>
                  </a:lnTo>
                  <a:lnTo>
                    <a:pt x="170" y="339"/>
                  </a:lnTo>
                  <a:lnTo>
                    <a:pt x="231" y="293"/>
                  </a:lnTo>
                  <a:lnTo>
                    <a:pt x="235" y="274"/>
                  </a:lnTo>
                  <a:lnTo>
                    <a:pt x="288" y="260"/>
                  </a:lnTo>
                  <a:lnTo>
                    <a:pt x="278" y="242"/>
                  </a:lnTo>
                  <a:lnTo>
                    <a:pt x="389" y="208"/>
                  </a:lnTo>
                  <a:lnTo>
                    <a:pt x="374" y="191"/>
                  </a:lnTo>
                  <a:lnTo>
                    <a:pt x="409" y="88"/>
                  </a:lnTo>
                  <a:lnTo>
                    <a:pt x="382" y="43"/>
                  </a:lnTo>
                  <a:lnTo>
                    <a:pt x="317" y="12"/>
                  </a:lnTo>
                  <a:lnTo>
                    <a:pt x="300" y="0"/>
                  </a:lnTo>
                  <a:lnTo>
                    <a:pt x="237" y="32"/>
                  </a:lnTo>
                  <a:lnTo>
                    <a:pt x="230" y="122"/>
                  </a:lnTo>
                  <a:lnTo>
                    <a:pt x="269" y="139"/>
                  </a:lnTo>
                  <a:lnTo>
                    <a:pt x="270" y="176"/>
                  </a:lnTo>
                  <a:lnTo>
                    <a:pt x="71" y="94"/>
                  </a:lnTo>
                  <a:lnTo>
                    <a:pt x="77" y="166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0" name="Freeform 232"/>
            <p:cNvSpPr>
              <a:spLocks noChangeAspect="1"/>
            </p:cNvSpPr>
            <p:nvPr/>
          </p:nvSpPr>
          <p:spPr bwMode="gray">
            <a:xfrm>
              <a:off x="4673412" y="4961814"/>
              <a:ext cx="405833" cy="396516"/>
            </a:xfrm>
            <a:custGeom>
              <a:avLst/>
              <a:gdLst>
                <a:gd name="T0" fmla="*/ 0 w 568"/>
                <a:gd name="T1" fmla="*/ 24 h 455"/>
                <a:gd name="T2" fmla="*/ 0 w 568"/>
                <a:gd name="T3" fmla="*/ 23 h 455"/>
                <a:gd name="T4" fmla="*/ 0 w 568"/>
                <a:gd name="T5" fmla="*/ 26 h 455"/>
                <a:gd name="T6" fmla="*/ 1 w 568"/>
                <a:gd name="T7" fmla="*/ 26 h 455"/>
                <a:gd name="T8" fmla="*/ 2 w 568"/>
                <a:gd name="T9" fmla="*/ 24 h 455"/>
                <a:gd name="T10" fmla="*/ 2 w 568"/>
                <a:gd name="T11" fmla="*/ 9 h 455"/>
                <a:gd name="T12" fmla="*/ 3 w 568"/>
                <a:gd name="T13" fmla="*/ 13 h 455"/>
                <a:gd name="T14" fmla="*/ 3 w 568"/>
                <a:gd name="T15" fmla="*/ 17 h 455"/>
                <a:gd name="T16" fmla="*/ 3 w 568"/>
                <a:gd name="T17" fmla="*/ 17 h 455"/>
                <a:gd name="T18" fmla="*/ 4 w 568"/>
                <a:gd name="T19" fmla="*/ 13 h 455"/>
                <a:gd name="T20" fmla="*/ 6 w 568"/>
                <a:gd name="T21" fmla="*/ 13 h 455"/>
                <a:gd name="T22" fmla="*/ 7 w 568"/>
                <a:gd name="T23" fmla="*/ 0 h 455"/>
                <a:gd name="T24" fmla="*/ 9 w 568"/>
                <a:gd name="T25" fmla="*/ 2 h 455"/>
                <a:gd name="T26" fmla="*/ 9 w 568"/>
                <a:gd name="T27" fmla="*/ 13 h 455"/>
                <a:gd name="T28" fmla="*/ 8 w 568"/>
                <a:gd name="T29" fmla="*/ 16 h 455"/>
                <a:gd name="T30" fmla="*/ 9 w 568"/>
                <a:gd name="T31" fmla="*/ 19 h 455"/>
                <a:gd name="T32" fmla="*/ 9 w 568"/>
                <a:gd name="T33" fmla="*/ 17 h 455"/>
                <a:gd name="T34" fmla="*/ 10 w 568"/>
                <a:gd name="T35" fmla="*/ 17 h 455"/>
                <a:gd name="T36" fmla="*/ 10 w 568"/>
                <a:gd name="T37" fmla="*/ 24 h 455"/>
                <a:gd name="T38" fmla="*/ 8 w 568"/>
                <a:gd name="T39" fmla="*/ 34 h 455"/>
                <a:gd name="T40" fmla="*/ 7 w 568"/>
                <a:gd name="T41" fmla="*/ 43 h 455"/>
                <a:gd name="T42" fmla="*/ 5 w 568"/>
                <a:gd name="T43" fmla="*/ 46 h 455"/>
                <a:gd name="T44" fmla="*/ 1 w 568"/>
                <a:gd name="T45" fmla="*/ 46 h 455"/>
                <a:gd name="T46" fmla="*/ 1 w 568"/>
                <a:gd name="T47" fmla="*/ 41 h 455"/>
                <a:gd name="T48" fmla="*/ 1 w 568"/>
                <a:gd name="T49" fmla="*/ 37 h 455"/>
                <a:gd name="T50" fmla="*/ 0 w 568"/>
                <a:gd name="T51" fmla="*/ 24 h 4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68"/>
                <a:gd name="T79" fmla="*/ 0 h 455"/>
                <a:gd name="T80" fmla="*/ 568 w 568"/>
                <a:gd name="T81" fmla="*/ 455 h 4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68" h="455">
                  <a:moveTo>
                    <a:pt x="0" y="240"/>
                  </a:moveTo>
                  <a:lnTo>
                    <a:pt x="21" y="224"/>
                  </a:lnTo>
                  <a:lnTo>
                    <a:pt x="45" y="254"/>
                  </a:lnTo>
                  <a:lnTo>
                    <a:pt x="89" y="254"/>
                  </a:lnTo>
                  <a:lnTo>
                    <a:pt x="119" y="232"/>
                  </a:lnTo>
                  <a:lnTo>
                    <a:pt x="119" y="91"/>
                  </a:lnTo>
                  <a:lnTo>
                    <a:pt x="149" y="127"/>
                  </a:lnTo>
                  <a:lnTo>
                    <a:pt x="148" y="165"/>
                  </a:lnTo>
                  <a:lnTo>
                    <a:pt x="196" y="164"/>
                  </a:lnTo>
                  <a:lnTo>
                    <a:pt x="237" y="121"/>
                  </a:lnTo>
                  <a:lnTo>
                    <a:pt x="313" y="121"/>
                  </a:lnTo>
                  <a:lnTo>
                    <a:pt x="445" y="0"/>
                  </a:lnTo>
                  <a:lnTo>
                    <a:pt x="524" y="17"/>
                  </a:lnTo>
                  <a:lnTo>
                    <a:pt x="537" y="130"/>
                  </a:lnTo>
                  <a:lnTo>
                    <a:pt x="499" y="161"/>
                  </a:lnTo>
                  <a:lnTo>
                    <a:pt x="522" y="185"/>
                  </a:lnTo>
                  <a:lnTo>
                    <a:pt x="541" y="165"/>
                  </a:lnTo>
                  <a:lnTo>
                    <a:pt x="568" y="165"/>
                  </a:lnTo>
                  <a:lnTo>
                    <a:pt x="554" y="232"/>
                  </a:lnTo>
                  <a:lnTo>
                    <a:pt x="471" y="335"/>
                  </a:lnTo>
                  <a:lnTo>
                    <a:pt x="368" y="424"/>
                  </a:lnTo>
                  <a:lnTo>
                    <a:pt x="291" y="454"/>
                  </a:lnTo>
                  <a:lnTo>
                    <a:pt x="67" y="455"/>
                  </a:lnTo>
                  <a:lnTo>
                    <a:pt x="49" y="404"/>
                  </a:lnTo>
                  <a:lnTo>
                    <a:pt x="58" y="363"/>
                  </a:lnTo>
                  <a:lnTo>
                    <a:pt x="0" y="240"/>
                  </a:lnTo>
                  <a:close/>
                </a:path>
              </a:pathLst>
            </a:custGeom>
            <a:solidFill>
              <a:srgbClr val="FFD815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1" name="Freeform 233"/>
            <p:cNvSpPr>
              <a:spLocks noChangeAspect="1"/>
            </p:cNvSpPr>
            <p:nvPr/>
          </p:nvSpPr>
          <p:spPr bwMode="gray">
            <a:xfrm>
              <a:off x="4935289" y="5174174"/>
              <a:ext cx="59726" cy="71340"/>
            </a:xfrm>
            <a:custGeom>
              <a:avLst/>
              <a:gdLst>
                <a:gd name="T0" fmla="*/ 0 w 80"/>
                <a:gd name="T1" fmla="*/ 3 h 84"/>
                <a:gd name="T2" fmla="*/ 1 w 80"/>
                <a:gd name="T3" fmla="*/ 6 h 84"/>
                <a:gd name="T4" fmla="*/ 2 w 80"/>
                <a:gd name="T5" fmla="*/ 3 h 84"/>
                <a:gd name="T6" fmla="*/ 2 w 80"/>
                <a:gd name="T7" fmla="*/ 0 h 84"/>
                <a:gd name="T8" fmla="*/ 0 w 80"/>
                <a:gd name="T9" fmla="*/ 3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0"/>
                <a:gd name="T16" fmla="*/ 0 h 84"/>
                <a:gd name="T17" fmla="*/ 80 w 80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0" h="84">
                  <a:moveTo>
                    <a:pt x="0" y="41"/>
                  </a:moveTo>
                  <a:lnTo>
                    <a:pt x="30" y="84"/>
                  </a:lnTo>
                  <a:lnTo>
                    <a:pt x="80" y="41"/>
                  </a:lnTo>
                  <a:lnTo>
                    <a:pt x="57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2" name="Freeform 234"/>
            <p:cNvSpPr>
              <a:spLocks noChangeAspect="1"/>
            </p:cNvSpPr>
            <p:nvPr/>
          </p:nvSpPr>
          <p:spPr bwMode="gray">
            <a:xfrm>
              <a:off x="4838808" y="2435059"/>
              <a:ext cx="200619" cy="187474"/>
            </a:xfrm>
            <a:custGeom>
              <a:avLst/>
              <a:gdLst>
                <a:gd name="T0" fmla="*/ 2 w 277"/>
                <a:gd name="T1" fmla="*/ 0 h 215"/>
                <a:gd name="T2" fmla="*/ 2 w 277"/>
                <a:gd name="T3" fmla="*/ 1 h 215"/>
                <a:gd name="T4" fmla="*/ 3 w 277"/>
                <a:gd name="T5" fmla="*/ 2 h 215"/>
                <a:gd name="T6" fmla="*/ 4 w 277"/>
                <a:gd name="T7" fmla="*/ 2 h 215"/>
                <a:gd name="T8" fmla="*/ 4 w 277"/>
                <a:gd name="T9" fmla="*/ 3 h 215"/>
                <a:gd name="T10" fmla="*/ 5 w 277"/>
                <a:gd name="T11" fmla="*/ 5 h 215"/>
                <a:gd name="T12" fmla="*/ 5 w 277"/>
                <a:gd name="T13" fmla="*/ 9 h 215"/>
                <a:gd name="T14" fmla="*/ 5 w 277"/>
                <a:gd name="T15" fmla="*/ 10 h 215"/>
                <a:gd name="T16" fmla="*/ 6 w 277"/>
                <a:gd name="T17" fmla="*/ 12 h 215"/>
                <a:gd name="T18" fmla="*/ 6 w 277"/>
                <a:gd name="T19" fmla="*/ 13 h 215"/>
                <a:gd name="T20" fmla="*/ 6 w 277"/>
                <a:gd name="T21" fmla="*/ 14 h 215"/>
                <a:gd name="T22" fmla="*/ 6 w 277"/>
                <a:gd name="T23" fmla="*/ 14 h 215"/>
                <a:gd name="T24" fmla="*/ 5 w 277"/>
                <a:gd name="T25" fmla="*/ 14 h 215"/>
                <a:gd name="T26" fmla="*/ 5 w 277"/>
                <a:gd name="T27" fmla="*/ 15 h 215"/>
                <a:gd name="T28" fmla="*/ 5 w 277"/>
                <a:gd name="T29" fmla="*/ 16 h 215"/>
                <a:gd name="T30" fmla="*/ 6 w 277"/>
                <a:gd name="T31" fmla="*/ 18 h 215"/>
                <a:gd name="T32" fmla="*/ 5 w 277"/>
                <a:gd name="T33" fmla="*/ 19 h 215"/>
                <a:gd name="T34" fmla="*/ 5 w 277"/>
                <a:gd name="T35" fmla="*/ 19 h 215"/>
                <a:gd name="T36" fmla="*/ 5 w 277"/>
                <a:gd name="T37" fmla="*/ 19 h 215"/>
                <a:gd name="T38" fmla="*/ 4 w 277"/>
                <a:gd name="T39" fmla="*/ 19 h 215"/>
                <a:gd name="T40" fmla="*/ 4 w 277"/>
                <a:gd name="T41" fmla="*/ 22 h 215"/>
                <a:gd name="T42" fmla="*/ 4 w 277"/>
                <a:gd name="T43" fmla="*/ 22 h 215"/>
                <a:gd name="T44" fmla="*/ 4 w 277"/>
                <a:gd name="T45" fmla="*/ 21 h 215"/>
                <a:gd name="T46" fmla="*/ 3 w 277"/>
                <a:gd name="T47" fmla="*/ 20 h 215"/>
                <a:gd name="T48" fmla="*/ 3 w 277"/>
                <a:gd name="T49" fmla="*/ 19 h 215"/>
                <a:gd name="T50" fmla="*/ 3 w 277"/>
                <a:gd name="T51" fmla="*/ 20 h 215"/>
                <a:gd name="T52" fmla="*/ 1 w 277"/>
                <a:gd name="T53" fmla="*/ 18 h 215"/>
                <a:gd name="T54" fmla="*/ 1 w 277"/>
                <a:gd name="T55" fmla="*/ 18 h 215"/>
                <a:gd name="T56" fmla="*/ 0 w 277"/>
                <a:gd name="T57" fmla="*/ 18 h 215"/>
                <a:gd name="T58" fmla="*/ 0 w 277"/>
                <a:gd name="T59" fmla="*/ 19 h 215"/>
                <a:gd name="T60" fmla="*/ 0 w 277"/>
                <a:gd name="T61" fmla="*/ 16 h 215"/>
                <a:gd name="T62" fmla="*/ 0 w 277"/>
                <a:gd name="T63" fmla="*/ 14 h 215"/>
                <a:gd name="T64" fmla="*/ 0 w 277"/>
                <a:gd name="T65" fmla="*/ 9 h 215"/>
                <a:gd name="T66" fmla="*/ 0 w 277"/>
                <a:gd name="T67" fmla="*/ 9 h 215"/>
                <a:gd name="T68" fmla="*/ 0 w 277"/>
                <a:gd name="T69" fmla="*/ 8 h 215"/>
                <a:gd name="T70" fmla="*/ 0 w 277"/>
                <a:gd name="T71" fmla="*/ 7 h 215"/>
                <a:gd name="T72" fmla="*/ 1 w 277"/>
                <a:gd name="T73" fmla="*/ 6 h 215"/>
                <a:gd name="T74" fmla="*/ 1 w 277"/>
                <a:gd name="T75" fmla="*/ 4 h 215"/>
                <a:gd name="T76" fmla="*/ 1 w 277"/>
                <a:gd name="T77" fmla="*/ 2 h 215"/>
                <a:gd name="T78" fmla="*/ 1 w 277"/>
                <a:gd name="T79" fmla="*/ 0 h 215"/>
                <a:gd name="T80" fmla="*/ 2 w 277"/>
                <a:gd name="T81" fmla="*/ 0 h 21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77"/>
                <a:gd name="T124" fmla="*/ 0 h 215"/>
                <a:gd name="T125" fmla="*/ 277 w 277"/>
                <a:gd name="T126" fmla="*/ 215 h 21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77" h="215">
                  <a:moveTo>
                    <a:pt x="91" y="0"/>
                  </a:moveTo>
                  <a:lnTo>
                    <a:pt x="113" y="5"/>
                  </a:lnTo>
                  <a:lnTo>
                    <a:pt x="136" y="21"/>
                  </a:lnTo>
                  <a:lnTo>
                    <a:pt x="174" y="21"/>
                  </a:lnTo>
                  <a:lnTo>
                    <a:pt x="212" y="26"/>
                  </a:lnTo>
                  <a:lnTo>
                    <a:pt x="230" y="51"/>
                  </a:lnTo>
                  <a:lnTo>
                    <a:pt x="246" y="88"/>
                  </a:lnTo>
                  <a:lnTo>
                    <a:pt x="252" y="100"/>
                  </a:lnTo>
                  <a:lnTo>
                    <a:pt x="266" y="111"/>
                  </a:lnTo>
                  <a:lnTo>
                    <a:pt x="277" y="122"/>
                  </a:lnTo>
                  <a:lnTo>
                    <a:pt x="277" y="134"/>
                  </a:lnTo>
                  <a:lnTo>
                    <a:pt x="259" y="134"/>
                  </a:lnTo>
                  <a:lnTo>
                    <a:pt x="235" y="134"/>
                  </a:lnTo>
                  <a:lnTo>
                    <a:pt x="246" y="149"/>
                  </a:lnTo>
                  <a:lnTo>
                    <a:pt x="255" y="158"/>
                  </a:lnTo>
                  <a:lnTo>
                    <a:pt x="259" y="176"/>
                  </a:lnTo>
                  <a:lnTo>
                    <a:pt x="246" y="185"/>
                  </a:lnTo>
                  <a:lnTo>
                    <a:pt x="225" y="185"/>
                  </a:lnTo>
                  <a:lnTo>
                    <a:pt x="221" y="185"/>
                  </a:lnTo>
                  <a:lnTo>
                    <a:pt x="212" y="193"/>
                  </a:lnTo>
                  <a:lnTo>
                    <a:pt x="212" y="210"/>
                  </a:lnTo>
                  <a:lnTo>
                    <a:pt x="197" y="215"/>
                  </a:lnTo>
                  <a:lnTo>
                    <a:pt x="184" y="207"/>
                  </a:lnTo>
                  <a:lnTo>
                    <a:pt x="162" y="202"/>
                  </a:lnTo>
                  <a:lnTo>
                    <a:pt x="142" y="193"/>
                  </a:lnTo>
                  <a:lnTo>
                    <a:pt x="124" y="198"/>
                  </a:lnTo>
                  <a:lnTo>
                    <a:pt x="66" y="176"/>
                  </a:lnTo>
                  <a:lnTo>
                    <a:pt x="43" y="181"/>
                  </a:lnTo>
                  <a:lnTo>
                    <a:pt x="23" y="176"/>
                  </a:lnTo>
                  <a:lnTo>
                    <a:pt x="14" y="193"/>
                  </a:lnTo>
                  <a:lnTo>
                    <a:pt x="0" y="156"/>
                  </a:lnTo>
                  <a:lnTo>
                    <a:pt x="25" y="133"/>
                  </a:lnTo>
                  <a:lnTo>
                    <a:pt x="7" y="88"/>
                  </a:lnTo>
                  <a:lnTo>
                    <a:pt x="23" y="93"/>
                  </a:lnTo>
                  <a:lnTo>
                    <a:pt x="26" y="83"/>
                  </a:lnTo>
                  <a:lnTo>
                    <a:pt x="31" y="66"/>
                  </a:lnTo>
                  <a:lnTo>
                    <a:pt x="40" y="57"/>
                  </a:lnTo>
                  <a:lnTo>
                    <a:pt x="43" y="38"/>
                  </a:lnTo>
                  <a:lnTo>
                    <a:pt x="61" y="17"/>
                  </a:lnTo>
                  <a:lnTo>
                    <a:pt x="75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3" name="Freeform 235"/>
            <p:cNvSpPr>
              <a:spLocks noChangeAspect="1"/>
            </p:cNvSpPr>
            <p:nvPr/>
          </p:nvSpPr>
          <p:spPr bwMode="gray">
            <a:xfrm>
              <a:off x="4808179" y="2569443"/>
              <a:ext cx="444119" cy="303609"/>
            </a:xfrm>
            <a:custGeom>
              <a:avLst/>
              <a:gdLst>
                <a:gd name="T0" fmla="*/ 7 w 610"/>
                <a:gd name="T1" fmla="*/ 2 h 352"/>
                <a:gd name="T2" fmla="*/ 8 w 610"/>
                <a:gd name="T3" fmla="*/ 0 h 352"/>
                <a:gd name="T4" fmla="*/ 9 w 610"/>
                <a:gd name="T5" fmla="*/ 2 h 352"/>
                <a:gd name="T6" fmla="*/ 9 w 610"/>
                <a:gd name="T7" fmla="*/ 5 h 352"/>
                <a:gd name="T8" fmla="*/ 10 w 610"/>
                <a:gd name="T9" fmla="*/ 6 h 352"/>
                <a:gd name="T10" fmla="*/ 11 w 610"/>
                <a:gd name="T11" fmla="*/ 10 h 352"/>
                <a:gd name="T12" fmla="*/ 12 w 610"/>
                <a:gd name="T13" fmla="*/ 10 h 352"/>
                <a:gd name="T14" fmla="*/ 14 w 610"/>
                <a:gd name="T15" fmla="*/ 11 h 352"/>
                <a:gd name="T16" fmla="*/ 13 w 610"/>
                <a:gd name="T17" fmla="*/ 17 h 352"/>
                <a:gd name="T18" fmla="*/ 12 w 610"/>
                <a:gd name="T19" fmla="*/ 21 h 352"/>
                <a:gd name="T20" fmla="*/ 10 w 610"/>
                <a:gd name="T21" fmla="*/ 25 h 352"/>
                <a:gd name="T22" fmla="*/ 10 w 610"/>
                <a:gd name="T23" fmla="*/ 27 h 352"/>
                <a:gd name="T24" fmla="*/ 9 w 610"/>
                <a:gd name="T25" fmla="*/ 31 h 352"/>
                <a:gd name="T26" fmla="*/ 9 w 610"/>
                <a:gd name="T27" fmla="*/ 24 h 352"/>
                <a:gd name="T28" fmla="*/ 8 w 610"/>
                <a:gd name="T29" fmla="*/ 24 h 352"/>
                <a:gd name="T30" fmla="*/ 8 w 610"/>
                <a:gd name="T31" fmla="*/ 22 h 352"/>
                <a:gd name="T32" fmla="*/ 6 w 610"/>
                <a:gd name="T33" fmla="*/ 27 h 352"/>
                <a:gd name="T34" fmla="*/ 5 w 610"/>
                <a:gd name="T35" fmla="*/ 24 h 352"/>
                <a:gd name="T36" fmla="*/ 6 w 610"/>
                <a:gd name="T37" fmla="*/ 22 h 352"/>
                <a:gd name="T38" fmla="*/ 6 w 610"/>
                <a:gd name="T39" fmla="*/ 21 h 352"/>
                <a:gd name="T40" fmla="*/ 5 w 610"/>
                <a:gd name="T41" fmla="*/ 17 h 352"/>
                <a:gd name="T42" fmla="*/ 4 w 610"/>
                <a:gd name="T43" fmla="*/ 16 h 352"/>
                <a:gd name="T44" fmla="*/ 2 w 610"/>
                <a:gd name="T45" fmla="*/ 17 h 352"/>
                <a:gd name="T46" fmla="*/ 0 w 610"/>
                <a:gd name="T47" fmla="*/ 17 h 352"/>
                <a:gd name="T48" fmla="*/ 0 w 610"/>
                <a:gd name="T49" fmla="*/ 12 h 352"/>
                <a:gd name="T50" fmla="*/ 1 w 610"/>
                <a:gd name="T51" fmla="*/ 7 h 352"/>
                <a:gd name="T52" fmla="*/ 1 w 610"/>
                <a:gd name="T53" fmla="*/ 3 h 352"/>
                <a:gd name="T54" fmla="*/ 2 w 610"/>
                <a:gd name="T55" fmla="*/ 3 h 352"/>
                <a:gd name="T56" fmla="*/ 3 w 610"/>
                <a:gd name="T57" fmla="*/ 3 h 352"/>
                <a:gd name="T58" fmla="*/ 4 w 610"/>
                <a:gd name="T59" fmla="*/ 3 h 352"/>
                <a:gd name="T60" fmla="*/ 5 w 610"/>
                <a:gd name="T61" fmla="*/ 5 h 352"/>
                <a:gd name="T62" fmla="*/ 6 w 610"/>
                <a:gd name="T63" fmla="*/ 5 h 352"/>
                <a:gd name="T64" fmla="*/ 6 w 610"/>
                <a:gd name="T65" fmla="*/ 3 h 352"/>
                <a:gd name="T66" fmla="*/ 7 w 610"/>
                <a:gd name="T67" fmla="*/ 3 h 35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10"/>
                <a:gd name="T103" fmla="*/ 0 h 352"/>
                <a:gd name="T104" fmla="*/ 610 w 610"/>
                <a:gd name="T105" fmla="*/ 352 h 35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10" h="352">
                  <a:moveTo>
                    <a:pt x="303" y="17"/>
                  </a:moveTo>
                  <a:lnTo>
                    <a:pt x="313" y="14"/>
                  </a:lnTo>
                  <a:lnTo>
                    <a:pt x="330" y="5"/>
                  </a:lnTo>
                  <a:lnTo>
                    <a:pt x="343" y="0"/>
                  </a:lnTo>
                  <a:lnTo>
                    <a:pt x="370" y="5"/>
                  </a:lnTo>
                  <a:lnTo>
                    <a:pt x="380" y="23"/>
                  </a:lnTo>
                  <a:lnTo>
                    <a:pt x="386" y="45"/>
                  </a:lnTo>
                  <a:lnTo>
                    <a:pt x="395" y="51"/>
                  </a:lnTo>
                  <a:lnTo>
                    <a:pt x="409" y="47"/>
                  </a:lnTo>
                  <a:lnTo>
                    <a:pt x="439" y="76"/>
                  </a:lnTo>
                  <a:lnTo>
                    <a:pt x="455" y="99"/>
                  </a:lnTo>
                  <a:lnTo>
                    <a:pt x="496" y="115"/>
                  </a:lnTo>
                  <a:lnTo>
                    <a:pt x="523" y="118"/>
                  </a:lnTo>
                  <a:lnTo>
                    <a:pt x="537" y="115"/>
                  </a:lnTo>
                  <a:lnTo>
                    <a:pt x="562" y="126"/>
                  </a:lnTo>
                  <a:lnTo>
                    <a:pt x="593" y="131"/>
                  </a:lnTo>
                  <a:lnTo>
                    <a:pt x="610" y="184"/>
                  </a:lnTo>
                  <a:lnTo>
                    <a:pt x="579" y="192"/>
                  </a:lnTo>
                  <a:lnTo>
                    <a:pt x="573" y="217"/>
                  </a:lnTo>
                  <a:lnTo>
                    <a:pt x="528" y="244"/>
                  </a:lnTo>
                  <a:lnTo>
                    <a:pt x="456" y="263"/>
                  </a:lnTo>
                  <a:lnTo>
                    <a:pt x="449" y="287"/>
                  </a:lnTo>
                  <a:lnTo>
                    <a:pt x="419" y="277"/>
                  </a:lnTo>
                  <a:lnTo>
                    <a:pt x="452" y="310"/>
                  </a:lnTo>
                  <a:lnTo>
                    <a:pt x="491" y="314"/>
                  </a:lnTo>
                  <a:lnTo>
                    <a:pt x="413" y="352"/>
                  </a:lnTo>
                  <a:lnTo>
                    <a:pt x="367" y="312"/>
                  </a:lnTo>
                  <a:lnTo>
                    <a:pt x="405" y="282"/>
                  </a:lnTo>
                  <a:lnTo>
                    <a:pt x="367" y="275"/>
                  </a:lnTo>
                  <a:lnTo>
                    <a:pt x="341" y="275"/>
                  </a:lnTo>
                  <a:lnTo>
                    <a:pt x="346" y="249"/>
                  </a:lnTo>
                  <a:lnTo>
                    <a:pt x="339" y="252"/>
                  </a:lnTo>
                  <a:lnTo>
                    <a:pt x="282" y="266"/>
                  </a:lnTo>
                  <a:lnTo>
                    <a:pt x="260" y="312"/>
                  </a:lnTo>
                  <a:lnTo>
                    <a:pt x="224" y="309"/>
                  </a:lnTo>
                  <a:lnTo>
                    <a:pt x="233" y="277"/>
                  </a:lnTo>
                  <a:lnTo>
                    <a:pt x="235" y="263"/>
                  </a:lnTo>
                  <a:lnTo>
                    <a:pt x="257" y="257"/>
                  </a:lnTo>
                  <a:lnTo>
                    <a:pt x="268" y="246"/>
                  </a:lnTo>
                  <a:lnTo>
                    <a:pt x="270" y="237"/>
                  </a:lnTo>
                  <a:lnTo>
                    <a:pt x="257" y="233"/>
                  </a:lnTo>
                  <a:lnTo>
                    <a:pt x="241" y="200"/>
                  </a:lnTo>
                  <a:lnTo>
                    <a:pt x="216" y="181"/>
                  </a:lnTo>
                  <a:lnTo>
                    <a:pt x="186" y="181"/>
                  </a:lnTo>
                  <a:lnTo>
                    <a:pt x="148" y="189"/>
                  </a:lnTo>
                  <a:lnTo>
                    <a:pt x="93" y="192"/>
                  </a:lnTo>
                  <a:lnTo>
                    <a:pt x="65" y="198"/>
                  </a:lnTo>
                  <a:lnTo>
                    <a:pt x="23" y="198"/>
                  </a:lnTo>
                  <a:lnTo>
                    <a:pt x="0" y="177"/>
                  </a:lnTo>
                  <a:lnTo>
                    <a:pt x="14" y="146"/>
                  </a:lnTo>
                  <a:lnTo>
                    <a:pt x="39" y="113"/>
                  </a:lnTo>
                  <a:lnTo>
                    <a:pt x="66" y="79"/>
                  </a:lnTo>
                  <a:lnTo>
                    <a:pt x="54" y="39"/>
                  </a:lnTo>
                  <a:lnTo>
                    <a:pt x="55" y="32"/>
                  </a:lnTo>
                  <a:lnTo>
                    <a:pt x="63" y="23"/>
                  </a:lnTo>
                  <a:lnTo>
                    <a:pt x="83" y="28"/>
                  </a:lnTo>
                  <a:lnTo>
                    <a:pt x="106" y="23"/>
                  </a:lnTo>
                  <a:lnTo>
                    <a:pt x="133" y="33"/>
                  </a:lnTo>
                  <a:lnTo>
                    <a:pt x="161" y="45"/>
                  </a:lnTo>
                  <a:lnTo>
                    <a:pt x="182" y="39"/>
                  </a:lnTo>
                  <a:lnTo>
                    <a:pt x="202" y="49"/>
                  </a:lnTo>
                  <a:lnTo>
                    <a:pt x="224" y="54"/>
                  </a:lnTo>
                  <a:lnTo>
                    <a:pt x="237" y="62"/>
                  </a:lnTo>
                  <a:lnTo>
                    <a:pt x="252" y="57"/>
                  </a:lnTo>
                  <a:lnTo>
                    <a:pt x="253" y="40"/>
                  </a:lnTo>
                  <a:lnTo>
                    <a:pt x="261" y="32"/>
                  </a:lnTo>
                  <a:lnTo>
                    <a:pt x="286" y="32"/>
                  </a:lnTo>
                  <a:lnTo>
                    <a:pt x="295" y="28"/>
                  </a:lnTo>
                  <a:lnTo>
                    <a:pt x="303" y="17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4" name="Freeform 236"/>
            <p:cNvSpPr>
              <a:spLocks noChangeAspect="1"/>
            </p:cNvSpPr>
            <p:nvPr/>
          </p:nvSpPr>
          <p:spPr bwMode="gray">
            <a:xfrm>
              <a:off x="4926101" y="2723736"/>
              <a:ext cx="79635" cy="114475"/>
            </a:xfrm>
            <a:custGeom>
              <a:avLst/>
              <a:gdLst>
                <a:gd name="T0" fmla="*/ 0 w 113"/>
                <a:gd name="T1" fmla="*/ 6 h 127"/>
                <a:gd name="T2" fmla="*/ 0 w 113"/>
                <a:gd name="T3" fmla="*/ 9 h 127"/>
                <a:gd name="T4" fmla="*/ 0 w 113"/>
                <a:gd name="T5" fmla="*/ 11 h 127"/>
                <a:gd name="T6" fmla="*/ 1 w 113"/>
                <a:gd name="T7" fmla="*/ 21 h 127"/>
                <a:gd name="T8" fmla="*/ 1 w 113"/>
                <a:gd name="T9" fmla="*/ 21 h 127"/>
                <a:gd name="T10" fmla="*/ 1 w 113"/>
                <a:gd name="T11" fmla="*/ 16 h 127"/>
                <a:gd name="T12" fmla="*/ 1 w 113"/>
                <a:gd name="T13" fmla="*/ 14 h 127"/>
                <a:gd name="T14" fmla="*/ 1 w 113"/>
                <a:gd name="T15" fmla="*/ 12 h 127"/>
                <a:gd name="T16" fmla="*/ 1 w 113"/>
                <a:gd name="T17" fmla="*/ 10 h 127"/>
                <a:gd name="T18" fmla="*/ 1 w 113"/>
                <a:gd name="T19" fmla="*/ 9 h 127"/>
                <a:gd name="T20" fmla="*/ 1 w 113"/>
                <a:gd name="T21" fmla="*/ 4 h 127"/>
                <a:gd name="T22" fmla="*/ 1 w 113"/>
                <a:gd name="T23" fmla="*/ 1 h 127"/>
                <a:gd name="T24" fmla="*/ 0 w 113"/>
                <a:gd name="T25" fmla="*/ 0 h 127"/>
                <a:gd name="T26" fmla="*/ 0 w 113"/>
                <a:gd name="T27" fmla="*/ 1 h 127"/>
                <a:gd name="T28" fmla="*/ 0 w 113"/>
                <a:gd name="T29" fmla="*/ 6 h 1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3"/>
                <a:gd name="T46" fmla="*/ 0 h 127"/>
                <a:gd name="T47" fmla="*/ 113 w 113"/>
                <a:gd name="T48" fmla="*/ 127 h 1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3" h="127">
                  <a:moveTo>
                    <a:pt x="25" y="34"/>
                  </a:moveTo>
                  <a:lnTo>
                    <a:pt x="40" y="52"/>
                  </a:lnTo>
                  <a:lnTo>
                    <a:pt x="47" y="67"/>
                  </a:lnTo>
                  <a:lnTo>
                    <a:pt x="53" y="124"/>
                  </a:lnTo>
                  <a:lnTo>
                    <a:pt x="66" y="127"/>
                  </a:lnTo>
                  <a:lnTo>
                    <a:pt x="75" y="96"/>
                  </a:lnTo>
                  <a:lnTo>
                    <a:pt x="77" y="80"/>
                  </a:lnTo>
                  <a:lnTo>
                    <a:pt x="107" y="71"/>
                  </a:lnTo>
                  <a:lnTo>
                    <a:pt x="113" y="58"/>
                  </a:lnTo>
                  <a:lnTo>
                    <a:pt x="100" y="54"/>
                  </a:lnTo>
                  <a:lnTo>
                    <a:pt x="84" y="21"/>
                  </a:lnTo>
                  <a:lnTo>
                    <a:pt x="59" y="1"/>
                  </a:lnTo>
                  <a:lnTo>
                    <a:pt x="28" y="0"/>
                  </a:lnTo>
                  <a:lnTo>
                    <a:pt x="0" y="3"/>
                  </a:lnTo>
                  <a:lnTo>
                    <a:pt x="25" y="34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5" name="Freeform 237"/>
            <p:cNvSpPr>
              <a:spLocks noChangeAspect="1"/>
            </p:cNvSpPr>
            <p:nvPr/>
          </p:nvSpPr>
          <p:spPr bwMode="gray">
            <a:xfrm>
              <a:off x="5224732" y="2874711"/>
              <a:ext cx="185305" cy="97885"/>
            </a:xfrm>
            <a:custGeom>
              <a:avLst/>
              <a:gdLst>
                <a:gd name="T0" fmla="*/ 0 w 256"/>
                <a:gd name="T1" fmla="*/ 1 h 114"/>
                <a:gd name="T2" fmla="*/ 1 w 256"/>
                <a:gd name="T3" fmla="*/ 0 h 114"/>
                <a:gd name="T4" fmla="*/ 2 w 256"/>
                <a:gd name="T5" fmla="*/ 2 h 114"/>
                <a:gd name="T6" fmla="*/ 3 w 256"/>
                <a:gd name="T7" fmla="*/ 4 h 114"/>
                <a:gd name="T8" fmla="*/ 4 w 256"/>
                <a:gd name="T9" fmla="*/ 4 h 114"/>
                <a:gd name="T10" fmla="*/ 4 w 256"/>
                <a:gd name="T11" fmla="*/ 3 h 114"/>
                <a:gd name="T12" fmla="*/ 4 w 256"/>
                <a:gd name="T13" fmla="*/ 3 h 114"/>
                <a:gd name="T14" fmla="*/ 5 w 256"/>
                <a:gd name="T15" fmla="*/ 5 h 114"/>
                <a:gd name="T16" fmla="*/ 5 w 256"/>
                <a:gd name="T17" fmla="*/ 5 h 114"/>
                <a:gd name="T18" fmla="*/ 5 w 256"/>
                <a:gd name="T19" fmla="*/ 6 h 114"/>
                <a:gd name="T20" fmla="*/ 5 w 256"/>
                <a:gd name="T21" fmla="*/ 8 h 114"/>
                <a:gd name="T22" fmla="*/ 5 w 256"/>
                <a:gd name="T23" fmla="*/ 9 h 114"/>
                <a:gd name="T24" fmla="*/ 5 w 256"/>
                <a:gd name="T25" fmla="*/ 7 h 114"/>
                <a:gd name="T26" fmla="*/ 4 w 256"/>
                <a:gd name="T27" fmla="*/ 7 h 114"/>
                <a:gd name="T28" fmla="*/ 4 w 256"/>
                <a:gd name="T29" fmla="*/ 7 h 114"/>
                <a:gd name="T30" fmla="*/ 4 w 256"/>
                <a:gd name="T31" fmla="*/ 9 h 114"/>
                <a:gd name="T32" fmla="*/ 4 w 256"/>
                <a:gd name="T33" fmla="*/ 8 h 114"/>
                <a:gd name="T34" fmla="*/ 3 w 256"/>
                <a:gd name="T35" fmla="*/ 9 h 114"/>
                <a:gd name="T36" fmla="*/ 2 w 256"/>
                <a:gd name="T37" fmla="*/ 9 h 114"/>
                <a:gd name="T38" fmla="*/ 2 w 256"/>
                <a:gd name="T39" fmla="*/ 5 h 114"/>
                <a:gd name="T40" fmla="*/ 0 w 256"/>
                <a:gd name="T41" fmla="*/ 2 h 114"/>
                <a:gd name="T42" fmla="*/ 0 w 256"/>
                <a:gd name="T43" fmla="*/ 1 h 1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56"/>
                <a:gd name="T67" fmla="*/ 0 h 114"/>
                <a:gd name="T68" fmla="*/ 256 w 256"/>
                <a:gd name="T69" fmla="*/ 114 h 1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56" h="114">
                  <a:moveTo>
                    <a:pt x="0" y="6"/>
                  </a:moveTo>
                  <a:lnTo>
                    <a:pt x="61" y="0"/>
                  </a:lnTo>
                  <a:lnTo>
                    <a:pt x="119" y="23"/>
                  </a:lnTo>
                  <a:lnTo>
                    <a:pt x="144" y="49"/>
                  </a:lnTo>
                  <a:lnTo>
                    <a:pt x="175" y="49"/>
                  </a:lnTo>
                  <a:lnTo>
                    <a:pt x="195" y="37"/>
                  </a:lnTo>
                  <a:lnTo>
                    <a:pt x="211" y="33"/>
                  </a:lnTo>
                  <a:lnTo>
                    <a:pt x="227" y="60"/>
                  </a:lnTo>
                  <a:lnTo>
                    <a:pt x="254" y="66"/>
                  </a:lnTo>
                  <a:lnTo>
                    <a:pt x="248" y="77"/>
                  </a:lnTo>
                  <a:lnTo>
                    <a:pt x="256" y="97"/>
                  </a:lnTo>
                  <a:lnTo>
                    <a:pt x="254" y="113"/>
                  </a:lnTo>
                  <a:lnTo>
                    <a:pt x="227" y="88"/>
                  </a:lnTo>
                  <a:lnTo>
                    <a:pt x="211" y="82"/>
                  </a:lnTo>
                  <a:lnTo>
                    <a:pt x="197" y="82"/>
                  </a:lnTo>
                  <a:lnTo>
                    <a:pt x="190" y="108"/>
                  </a:lnTo>
                  <a:lnTo>
                    <a:pt x="170" y="100"/>
                  </a:lnTo>
                  <a:lnTo>
                    <a:pt x="137" y="114"/>
                  </a:lnTo>
                  <a:lnTo>
                    <a:pt x="99" y="111"/>
                  </a:lnTo>
                  <a:lnTo>
                    <a:pt x="97" y="66"/>
                  </a:lnTo>
                  <a:lnTo>
                    <a:pt x="34" y="27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6" name="Freeform 238"/>
            <p:cNvSpPr>
              <a:spLocks noChangeAspect="1"/>
            </p:cNvSpPr>
            <p:nvPr/>
          </p:nvSpPr>
          <p:spPr bwMode="gray">
            <a:xfrm>
              <a:off x="5361031" y="2934438"/>
              <a:ext cx="154676" cy="145998"/>
            </a:xfrm>
            <a:custGeom>
              <a:avLst/>
              <a:gdLst>
                <a:gd name="T0" fmla="*/ 2 w 213"/>
                <a:gd name="T1" fmla="*/ 1 h 173"/>
                <a:gd name="T2" fmla="*/ 2 w 213"/>
                <a:gd name="T3" fmla="*/ 1 h 173"/>
                <a:gd name="T4" fmla="*/ 3 w 213"/>
                <a:gd name="T5" fmla="*/ 1 h 173"/>
                <a:gd name="T6" fmla="*/ 3 w 213"/>
                <a:gd name="T7" fmla="*/ 3 h 173"/>
                <a:gd name="T8" fmla="*/ 4 w 213"/>
                <a:gd name="T9" fmla="*/ 4 h 173"/>
                <a:gd name="T10" fmla="*/ 5 w 213"/>
                <a:gd name="T11" fmla="*/ 6 h 173"/>
                <a:gd name="T12" fmla="*/ 4 w 213"/>
                <a:gd name="T13" fmla="*/ 7 h 173"/>
                <a:gd name="T14" fmla="*/ 4 w 213"/>
                <a:gd name="T15" fmla="*/ 8 h 173"/>
                <a:gd name="T16" fmla="*/ 4 w 213"/>
                <a:gd name="T17" fmla="*/ 9 h 173"/>
                <a:gd name="T18" fmla="*/ 4 w 213"/>
                <a:gd name="T19" fmla="*/ 11 h 173"/>
                <a:gd name="T20" fmla="*/ 3 w 213"/>
                <a:gd name="T21" fmla="*/ 10 h 173"/>
                <a:gd name="T22" fmla="*/ 3 w 213"/>
                <a:gd name="T23" fmla="*/ 8 h 173"/>
                <a:gd name="T24" fmla="*/ 2 w 213"/>
                <a:gd name="T25" fmla="*/ 9 h 173"/>
                <a:gd name="T26" fmla="*/ 1 w 213"/>
                <a:gd name="T27" fmla="*/ 10 h 173"/>
                <a:gd name="T28" fmla="*/ 1 w 213"/>
                <a:gd name="T29" fmla="*/ 10 h 173"/>
                <a:gd name="T30" fmla="*/ 1 w 213"/>
                <a:gd name="T31" fmla="*/ 9 h 173"/>
                <a:gd name="T32" fmla="*/ 0 w 213"/>
                <a:gd name="T33" fmla="*/ 8 h 173"/>
                <a:gd name="T34" fmla="*/ 1 w 213"/>
                <a:gd name="T35" fmla="*/ 7 h 173"/>
                <a:gd name="T36" fmla="*/ 1 w 213"/>
                <a:gd name="T37" fmla="*/ 8 h 173"/>
                <a:gd name="T38" fmla="*/ 2 w 213"/>
                <a:gd name="T39" fmla="*/ 9 h 173"/>
                <a:gd name="T40" fmla="*/ 2 w 213"/>
                <a:gd name="T41" fmla="*/ 8 h 173"/>
                <a:gd name="T42" fmla="*/ 1 w 213"/>
                <a:gd name="T43" fmla="*/ 6 h 173"/>
                <a:gd name="T44" fmla="*/ 1 w 213"/>
                <a:gd name="T45" fmla="*/ 5 h 173"/>
                <a:gd name="T46" fmla="*/ 1 w 213"/>
                <a:gd name="T47" fmla="*/ 4 h 173"/>
                <a:gd name="T48" fmla="*/ 1 w 213"/>
                <a:gd name="T49" fmla="*/ 4 h 173"/>
                <a:gd name="T50" fmla="*/ 0 w 213"/>
                <a:gd name="T51" fmla="*/ 3 h 173"/>
                <a:gd name="T52" fmla="*/ 0 w 213"/>
                <a:gd name="T53" fmla="*/ 3 h 173"/>
                <a:gd name="T54" fmla="*/ 0 w 213"/>
                <a:gd name="T55" fmla="*/ 2 h 173"/>
                <a:gd name="T56" fmla="*/ 0 w 213"/>
                <a:gd name="T57" fmla="*/ 1 h 173"/>
                <a:gd name="T58" fmla="*/ 0 w 213"/>
                <a:gd name="T59" fmla="*/ 1 h 173"/>
                <a:gd name="T60" fmla="*/ 1 w 213"/>
                <a:gd name="T61" fmla="*/ 2 h 173"/>
                <a:gd name="T62" fmla="*/ 1 w 213"/>
                <a:gd name="T63" fmla="*/ 3 h 173"/>
                <a:gd name="T64" fmla="*/ 1 w 213"/>
                <a:gd name="T65" fmla="*/ 2 h 173"/>
                <a:gd name="T66" fmla="*/ 1 w 213"/>
                <a:gd name="T67" fmla="*/ 1 h 173"/>
                <a:gd name="T68" fmla="*/ 1 w 213"/>
                <a:gd name="T69" fmla="*/ 0 h 173"/>
                <a:gd name="T70" fmla="*/ 2 w 213"/>
                <a:gd name="T71" fmla="*/ 1 h 17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3"/>
                <a:gd name="T109" fmla="*/ 0 h 173"/>
                <a:gd name="T110" fmla="*/ 213 w 213"/>
                <a:gd name="T111" fmla="*/ 173 h 17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3" h="173">
                  <a:moveTo>
                    <a:pt x="80" y="8"/>
                  </a:moveTo>
                  <a:lnTo>
                    <a:pt x="91" y="8"/>
                  </a:lnTo>
                  <a:lnTo>
                    <a:pt x="123" y="16"/>
                  </a:lnTo>
                  <a:lnTo>
                    <a:pt x="155" y="38"/>
                  </a:lnTo>
                  <a:lnTo>
                    <a:pt x="173" y="66"/>
                  </a:lnTo>
                  <a:lnTo>
                    <a:pt x="213" y="98"/>
                  </a:lnTo>
                  <a:lnTo>
                    <a:pt x="191" y="105"/>
                  </a:lnTo>
                  <a:lnTo>
                    <a:pt x="177" y="126"/>
                  </a:lnTo>
                  <a:lnTo>
                    <a:pt x="174" y="136"/>
                  </a:lnTo>
                  <a:lnTo>
                    <a:pt x="166" y="173"/>
                  </a:lnTo>
                  <a:lnTo>
                    <a:pt x="137" y="163"/>
                  </a:lnTo>
                  <a:lnTo>
                    <a:pt x="130" y="130"/>
                  </a:lnTo>
                  <a:lnTo>
                    <a:pt x="102" y="143"/>
                  </a:lnTo>
                  <a:lnTo>
                    <a:pt x="71" y="162"/>
                  </a:lnTo>
                  <a:lnTo>
                    <a:pt x="54" y="157"/>
                  </a:lnTo>
                  <a:lnTo>
                    <a:pt x="38" y="141"/>
                  </a:lnTo>
                  <a:lnTo>
                    <a:pt x="29" y="126"/>
                  </a:lnTo>
                  <a:lnTo>
                    <a:pt x="41" y="110"/>
                  </a:lnTo>
                  <a:lnTo>
                    <a:pt x="49" y="122"/>
                  </a:lnTo>
                  <a:lnTo>
                    <a:pt x="87" y="140"/>
                  </a:lnTo>
                  <a:lnTo>
                    <a:pt x="95" y="124"/>
                  </a:lnTo>
                  <a:lnTo>
                    <a:pt x="60" y="97"/>
                  </a:lnTo>
                  <a:lnTo>
                    <a:pt x="48" y="75"/>
                  </a:lnTo>
                  <a:lnTo>
                    <a:pt x="37" y="66"/>
                  </a:lnTo>
                  <a:lnTo>
                    <a:pt x="37" y="53"/>
                  </a:lnTo>
                  <a:lnTo>
                    <a:pt x="21" y="47"/>
                  </a:lnTo>
                  <a:lnTo>
                    <a:pt x="0" y="43"/>
                  </a:lnTo>
                  <a:lnTo>
                    <a:pt x="5" y="26"/>
                  </a:lnTo>
                  <a:lnTo>
                    <a:pt x="9" y="16"/>
                  </a:lnTo>
                  <a:lnTo>
                    <a:pt x="26" y="16"/>
                  </a:lnTo>
                  <a:lnTo>
                    <a:pt x="37" y="22"/>
                  </a:lnTo>
                  <a:lnTo>
                    <a:pt x="64" y="47"/>
                  </a:lnTo>
                  <a:lnTo>
                    <a:pt x="66" y="31"/>
                  </a:lnTo>
                  <a:lnTo>
                    <a:pt x="58" y="12"/>
                  </a:lnTo>
                  <a:lnTo>
                    <a:pt x="64" y="0"/>
                  </a:lnTo>
                  <a:lnTo>
                    <a:pt x="80" y="8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7" name="Freeform 239"/>
            <p:cNvSpPr>
              <a:spLocks noChangeAspect="1"/>
            </p:cNvSpPr>
            <p:nvPr/>
          </p:nvSpPr>
          <p:spPr bwMode="gray">
            <a:xfrm>
              <a:off x="5327339" y="2962642"/>
              <a:ext cx="105670" cy="89589"/>
            </a:xfrm>
            <a:custGeom>
              <a:avLst/>
              <a:gdLst>
                <a:gd name="T0" fmla="*/ 0 w 141"/>
                <a:gd name="T1" fmla="*/ 1 h 106"/>
                <a:gd name="T2" fmla="*/ 0 w 141"/>
                <a:gd name="T3" fmla="*/ 2 h 106"/>
                <a:gd name="T4" fmla="*/ 1 w 141"/>
                <a:gd name="T5" fmla="*/ 4 h 106"/>
                <a:gd name="T6" fmla="*/ 2 w 141"/>
                <a:gd name="T7" fmla="*/ 6 h 106"/>
                <a:gd name="T8" fmla="*/ 3 w 141"/>
                <a:gd name="T9" fmla="*/ 5 h 106"/>
                <a:gd name="T10" fmla="*/ 3 w 141"/>
                <a:gd name="T11" fmla="*/ 6 h 106"/>
                <a:gd name="T12" fmla="*/ 4 w 141"/>
                <a:gd name="T13" fmla="*/ 6 h 106"/>
                <a:gd name="T14" fmla="*/ 5 w 141"/>
                <a:gd name="T15" fmla="*/ 7 h 106"/>
                <a:gd name="T16" fmla="*/ 5 w 141"/>
                <a:gd name="T17" fmla="*/ 6 h 106"/>
                <a:gd name="T18" fmla="*/ 4 w 141"/>
                <a:gd name="T19" fmla="*/ 4 h 106"/>
                <a:gd name="T20" fmla="*/ 3 w 141"/>
                <a:gd name="T21" fmla="*/ 3 h 106"/>
                <a:gd name="T22" fmla="*/ 3 w 141"/>
                <a:gd name="T23" fmla="*/ 2 h 106"/>
                <a:gd name="T24" fmla="*/ 3 w 141"/>
                <a:gd name="T25" fmla="*/ 2 h 106"/>
                <a:gd name="T26" fmla="*/ 2 w 141"/>
                <a:gd name="T27" fmla="*/ 1 h 106"/>
                <a:gd name="T28" fmla="*/ 1 w 141"/>
                <a:gd name="T29" fmla="*/ 1 h 106"/>
                <a:gd name="T30" fmla="*/ 0 w 141"/>
                <a:gd name="T31" fmla="*/ 0 h 106"/>
                <a:gd name="T32" fmla="*/ 0 w 141"/>
                <a:gd name="T33" fmla="*/ 1 h 106"/>
                <a:gd name="T34" fmla="*/ 0 w 141"/>
                <a:gd name="T35" fmla="*/ 1 h 1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1"/>
                <a:gd name="T55" fmla="*/ 0 h 106"/>
                <a:gd name="T56" fmla="*/ 141 w 141"/>
                <a:gd name="T57" fmla="*/ 106 h 1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1" h="106">
                  <a:moveTo>
                    <a:pt x="0" y="16"/>
                  </a:moveTo>
                  <a:lnTo>
                    <a:pt x="17" y="33"/>
                  </a:lnTo>
                  <a:lnTo>
                    <a:pt x="38" y="59"/>
                  </a:lnTo>
                  <a:lnTo>
                    <a:pt x="70" y="93"/>
                  </a:lnTo>
                  <a:lnTo>
                    <a:pt x="92" y="73"/>
                  </a:lnTo>
                  <a:lnTo>
                    <a:pt x="93" y="90"/>
                  </a:lnTo>
                  <a:lnTo>
                    <a:pt x="109" y="93"/>
                  </a:lnTo>
                  <a:lnTo>
                    <a:pt x="132" y="106"/>
                  </a:lnTo>
                  <a:lnTo>
                    <a:pt x="141" y="90"/>
                  </a:lnTo>
                  <a:lnTo>
                    <a:pt x="106" y="63"/>
                  </a:lnTo>
                  <a:lnTo>
                    <a:pt x="98" y="42"/>
                  </a:lnTo>
                  <a:lnTo>
                    <a:pt x="83" y="32"/>
                  </a:lnTo>
                  <a:lnTo>
                    <a:pt x="83" y="19"/>
                  </a:lnTo>
                  <a:lnTo>
                    <a:pt x="67" y="13"/>
                  </a:lnTo>
                  <a:lnTo>
                    <a:pt x="44" y="8"/>
                  </a:lnTo>
                  <a:lnTo>
                    <a:pt x="24" y="0"/>
                  </a:lnTo>
                  <a:lnTo>
                    <a:pt x="7" y="3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8" name="Freeform 240"/>
            <p:cNvSpPr>
              <a:spLocks noChangeAspect="1"/>
            </p:cNvSpPr>
            <p:nvPr/>
          </p:nvSpPr>
          <p:spPr bwMode="gray">
            <a:xfrm>
              <a:off x="5385534" y="2445014"/>
              <a:ext cx="1047508" cy="542514"/>
            </a:xfrm>
            <a:custGeom>
              <a:avLst/>
              <a:gdLst>
                <a:gd name="T0" fmla="*/ 27 w 1452"/>
                <a:gd name="T1" fmla="*/ 26 h 623"/>
                <a:gd name="T2" fmla="*/ 24 w 1452"/>
                <a:gd name="T3" fmla="*/ 25 h 623"/>
                <a:gd name="T4" fmla="*/ 24 w 1452"/>
                <a:gd name="T5" fmla="*/ 19 h 623"/>
                <a:gd name="T6" fmla="*/ 22 w 1452"/>
                <a:gd name="T7" fmla="*/ 20 h 623"/>
                <a:gd name="T8" fmla="*/ 21 w 1452"/>
                <a:gd name="T9" fmla="*/ 18 h 623"/>
                <a:gd name="T10" fmla="*/ 18 w 1452"/>
                <a:gd name="T11" fmla="*/ 10 h 623"/>
                <a:gd name="T12" fmla="*/ 16 w 1452"/>
                <a:gd name="T13" fmla="*/ 8 h 623"/>
                <a:gd name="T14" fmla="*/ 13 w 1452"/>
                <a:gd name="T15" fmla="*/ 4 h 623"/>
                <a:gd name="T16" fmla="*/ 11 w 1452"/>
                <a:gd name="T17" fmla="*/ 3 h 623"/>
                <a:gd name="T18" fmla="*/ 9 w 1452"/>
                <a:gd name="T19" fmla="*/ 5 h 623"/>
                <a:gd name="T20" fmla="*/ 7 w 1452"/>
                <a:gd name="T21" fmla="*/ 5 h 623"/>
                <a:gd name="T22" fmla="*/ 7 w 1452"/>
                <a:gd name="T23" fmla="*/ 13 h 623"/>
                <a:gd name="T24" fmla="*/ 8 w 1452"/>
                <a:gd name="T25" fmla="*/ 16 h 623"/>
                <a:gd name="T26" fmla="*/ 8 w 1452"/>
                <a:gd name="T27" fmla="*/ 20 h 623"/>
                <a:gd name="T28" fmla="*/ 7 w 1452"/>
                <a:gd name="T29" fmla="*/ 21 h 623"/>
                <a:gd name="T30" fmla="*/ 6 w 1452"/>
                <a:gd name="T31" fmla="*/ 19 h 623"/>
                <a:gd name="T32" fmla="*/ 5 w 1452"/>
                <a:gd name="T33" fmla="*/ 19 h 623"/>
                <a:gd name="T34" fmla="*/ 4 w 1452"/>
                <a:gd name="T35" fmla="*/ 18 h 623"/>
                <a:gd name="T36" fmla="*/ 1 w 1452"/>
                <a:gd name="T37" fmla="*/ 17 h 623"/>
                <a:gd name="T38" fmla="*/ 1 w 1452"/>
                <a:gd name="T39" fmla="*/ 20 h 623"/>
                <a:gd name="T40" fmla="*/ 1 w 1452"/>
                <a:gd name="T41" fmla="*/ 24 h 623"/>
                <a:gd name="T42" fmla="*/ 0 w 1452"/>
                <a:gd name="T43" fmla="*/ 22 h 623"/>
                <a:gd name="T44" fmla="*/ 0 w 1452"/>
                <a:gd name="T45" fmla="*/ 29 h 623"/>
                <a:gd name="T46" fmla="*/ 0 w 1452"/>
                <a:gd name="T47" fmla="*/ 34 h 623"/>
                <a:gd name="T48" fmla="*/ 1 w 1452"/>
                <a:gd name="T49" fmla="*/ 34 h 623"/>
                <a:gd name="T50" fmla="*/ 2 w 1452"/>
                <a:gd name="T51" fmla="*/ 40 h 623"/>
                <a:gd name="T52" fmla="*/ 5 w 1452"/>
                <a:gd name="T53" fmla="*/ 37 h 623"/>
                <a:gd name="T54" fmla="*/ 5 w 1452"/>
                <a:gd name="T55" fmla="*/ 45 h 623"/>
                <a:gd name="T56" fmla="*/ 4 w 1452"/>
                <a:gd name="T57" fmla="*/ 49 h 623"/>
                <a:gd name="T58" fmla="*/ 5 w 1452"/>
                <a:gd name="T59" fmla="*/ 56 h 623"/>
                <a:gd name="T60" fmla="*/ 7 w 1452"/>
                <a:gd name="T61" fmla="*/ 57 h 623"/>
                <a:gd name="T62" fmla="*/ 8 w 1452"/>
                <a:gd name="T63" fmla="*/ 58 h 623"/>
                <a:gd name="T64" fmla="*/ 8 w 1452"/>
                <a:gd name="T65" fmla="*/ 44 h 623"/>
                <a:gd name="T66" fmla="*/ 8 w 1452"/>
                <a:gd name="T67" fmla="*/ 39 h 623"/>
                <a:gd name="T68" fmla="*/ 9 w 1452"/>
                <a:gd name="T69" fmla="*/ 37 h 623"/>
                <a:gd name="T70" fmla="*/ 9 w 1452"/>
                <a:gd name="T71" fmla="*/ 39 h 623"/>
                <a:gd name="T72" fmla="*/ 10 w 1452"/>
                <a:gd name="T73" fmla="*/ 40 h 623"/>
                <a:gd name="T74" fmla="*/ 11 w 1452"/>
                <a:gd name="T75" fmla="*/ 46 h 623"/>
                <a:gd name="T76" fmla="*/ 11 w 1452"/>
                <a:gd name="T77" fmla="*/ 49 h 623"/>
                <a:gd name="T78" fmla="*/ 13 w 1452"/>
                <a:gd name="T79" fmla="*/ 49 h 623"/>
                <a:gd name="T80" fmla="*/ 14 w 1452"/>
                <a:gd name="T81" fmla="*/ 59 h 623"/>
                <a:gd name="T82" fmla="*/ 14 w 1452"/>
                <a:gd name="T83" fmla="*/ 62 h 623"/>
                <a:gd name="T84" fmla="*/ 16 w 1452"/>
                <a:gd name="T85" fmla="*/ 61 h 623"/>
                <a:gd name="T86" fmla="*/ 18 w 1452"/>
                <a:gd name="T87" fmla="*/ 61 h 623"/>
                <a:gd name="T88" fmla="*/ 18 w 1452"/>
                <a:gd name="T89" fmla="*/ 57 h 623"/>
                <a:gd name="T90" fmla="*/ 18 w 1452"/>
                <a:gd name="T91" fmla="*/ 55 h 623"/>
                <a:gd name="T92" fmla="*/ 19 w 1452"/>
                <a:gd name="T93" fmla="*/ 56 h 623"/>
                <a:gd name="T94" fmla="*/ 21 w 1452"/>
                <a:gd name="T95" fmla="*/ 54 h 623"/>
                <a:gd name="T96" fmla="*/ 24 w 1452"/>
                <a:gd name="T97" fmla="*/ 57 h 623"/>
                <a:gd name="T98" fmla="*/ 24 w 1452"/>
                <a:gd name="T99" fmla="*/ 48 h 623"/>
                <a:gd name="T100" fmla="*/ 26 w 1452"/>
                <a:gd name="T101" fmla="*/ 37 h 62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52"/>
                <a:gd name="T154" fmla="*/ 0 h 623"/>
                <a:gd name="T155" fmla="*/ 1452 w 1452"/>
                <a:gd name="T156" fmla="*/ 623 h 62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52" h="623">
                  <a:moveTo>
                    <a:pt x="1416" y="321"/>
                  </a:moveTo>
                  <a:lnTo>
                    <a:pt x="1452" y="307"/>
                  </a:lnTo>
                  <a:lnTo>
                    <a:pt x="1378" y="257"/>
                  </a:lnTo>
                  <a:lnTo>
                    <a:pt x="1332" y="278"/>
                  </a:lnTo>
                  <a:lnTo>
                    <a:pt x="1265" y="258"/>
                  </a:lnTo>
                  <a:lnTo>
                    <a:pt x="1234" y="244"/>
                  </a:lnTo>
                  <a:lnTo>
                    <a:pt x="1206" y="244"/>
                  </a:lnTo>
                  <a:lnTo>
                    <a:pt x="1189" y="213"/>
                  </a:lnTo>
                  <a:lnTo>
                    <a:pt x="1180" y="194"/>
                  </a:lnTo>
                  <a:lnTo>
                    <a:pt x="1154" y="194"/>
                  </a:lnTo>
                  <a:lnTo>
                    <a:pt x="1132" y="194"/>
                  </a:lnTo>
                  <a:lnTo>
                    <a:pt x="1112" y="202"/>
                  </a:lnTo>
                  <a:lnTo>
                    <a:pt x="1077" y="168"/>
                  </a:lnTo>
                  <a:lnTo>
                    <a:pt x="1062" y="173"/>
                  </a:lnTo>
                  <a:lnTo>
                    <a:pt x="1046" y="180"/>
                  </a:lnTo>
                  <a:lnTo>
                    <a:pt x="1026" y="187"/>
                  </a:lnTo>
                  <a:lnTo>
                    <a:pt x="995" y="162"/>
                  </a:lnTo>
                  <a:lnTo>
                    <a:pt x="925" y="104"/>
                  </a:lnTo>
                  <a:lnTo>
                    <a:pt x="868" y="70"/>
                  </a:lnTo>
                  <a:lnTo>
                    <a:pt x="834" y="38"/>
                  </a:lnTo>
                  <a:lnTo>
                    <a:pt x="774" y="76"/>
                  </a:lnTo>
                  <a:lnTo>
                    <a:pt x="764" y="49"/>
                  </a:lnTo>
                  <a:lnTo>
                    <a:pt x="680" y="46"/>
                  </a:lnTo>
                  <a:lnTo>
                    <a:pt x="670" y="46"/>
                  </a:lnTo>
                  <a:lnTo>
                    <a:pt x="632" y="0"/>
                  </a:lnTo>
                  <a:lnTo>
                    <a:pt x="592" y="6"/>
                  </a:lnTo>
                  <a:lnTo>
                    <a:pt x="565" y="25"/>
                  </a:lnTo>
                  <a:lnTo>
                    <a:pt x="512" y="36"/>
                  </a:lnTo>
                  <a:lnTo>
                    <a:pt x="495" y="26"/>
                  </a:lnTo>
                  <a:lnTo>
                    <a:pt x="467" y="53"/>
                  </a:lnTo>
                  <a:lnTo>
                    <a:pt x="448" y="49"/>
                  </a:lnTo>
                  <a:lnTo>
                    <a:pt x="372" y="55"/>
                  </a:lnTo>
                  <a:lnTo>
                    <a:pt x="356" y="53"/>
                  </a:lnTo>
                  <a:lnTo>
                    <a:pt x="346" y="59"/>
                  </a:lnTo>
                  <a:lnTo>
                    <a:pt x="377" y="93"/>
                  </a:lnTo>
                  <a:lnTo>
                    <a:pt x="356" y="125"/>
                  </a:lnTo>
                  <a:lnTo>
                    <a:pt x="358" y="147"/>
                  </a:lnTo>
                  <a:lnTo>
                    <a:pt x="358" y="159"/>
                  </a:lnTo>
                  <a:lnTo>
                    <a:pt x="399" y="159"/>
                  </a:lnTo>
                  <a:lnTo>
                    <a:pt x="411" y="180"/>
                  </a:lnTo>
                  <a:lnTo>
                    <a:pt x="411" y="202"/>
                  </a:lnTo>
                  <a:lnTo>
                    <a:pt x="399" y="206"/>
                  </a:lnTo>
                  <a:lnTo>
                    <a:pt x="383" y="194"/>
                  </a:lnTo>
                  <a:lnTo>
                    <a:pt x="366" y="202"/>
                  </a:lnTo>
                  <a:lnTo>
                    <a:pt x="356" y="211"/>
                  </a:lnTo>
                  <a:lnTo>
                    <a:pt x="326" y="194"/>
                  </a:lnTo>
                  <a:lnTo>
                    <a:pt x="318" y="176"/>
                  </a:lnTo>
                  <a:lnTo>
                    <a:pt x="291" y="185"/>
                  </a:lnTo>
                  <a:lnTo>
                    <a:pt x="291" y="190"/>
                  </a:lnTo>
                  <a:lnTo>
                    <a:pt x="273" y="176"/>
                  </a:lnTo>
                  <a:lnTo>
                    <a:pt x="248" y="194"/>
                  </a:lnTo>
                  <a:lnTo>
                    <a:pt x="216" y="202"/>
                  </a:lnTo>
                  <a:lnTo>
                    <a:pt x="207" y="194"/>
                  </a:lnTo>
                  <a:lnTo>
                    <a:pt x="198" y="176"/>
                  </a:lnTo>
                  <a:lnTo>
                    <a:pt x="158" y="173"/>
                  </a:lnTo>
                  <a:lnTo>
                    <a:pt x="92" y="169"/>
                  </a:lnTo>
                  <a:lnTo>
                    <a:pt x="76" y="173"/>
                  </a:lnTo>
                  <a:lnTo>
                    <a:pt x="70" y="185"/>
                  </a:lnTo>
                  <a:lnTo>
                    <a:pt x="59" y="180"/>
                  </a:lnTo>
                  <a:lnTo>
                    <a:pt x="49" y="198"/>
                  </a:lnTo>
                  <a:lnTo>
                    <a:pt x="38" y="213"/>
                  </a:lnTo>
                  <a:lnTo>
                    <a:pt x="38" y="220"/>
                  </a:lnTo>
                  <a:lnTo>
                    <a:pt x="45" y="233"/>
                  </a:lnTo>
                  <a:lnTo>
                    <a:pt x="34" y="238"/>
                  </a:lnTo>
                  <a:lnTo>
                    <a:pt x="22" y="213"/>
                  </a:lnTo>
                  <a:lnTo>
                    <a:pt x="5" y="216"/>
                  </a:lnTo>
                  <a:lnTo>
                    <a:pt x="0" y="249"/>
                  </a:lnTo>
                  <a:lnTo>
                    <a:pt x="0" y="269"/>
                  </a:lnTo>
                  <a:lnTo>
                    <a:pt x="0" y="286"/>
                  </a:lnTo>
                  <a:lnTo>
                    <a:pt x="8" y="301"/>
                  </a:lnTo>
                  <a:lnTo>
                    <a:pt x="18" y="313"/>
                  </a:lnTo>
                  <a:lnTo>
                    <a:pt x="18" y="333"/>
                  </a:lnTo>
                  <a:lnTo>
                    <a:pt x="34" y="331"/>
                  </a:lnTo>
                  <a:lnTo>
                    <a:pt x="54" y="316"/>
                  </a:lnTo>
                  <a:lnTo>
                    <a:pt x="63" y="331"/>
                  </a:lnTo>
                  <a:lnTo>
                    <a:pt x="79" y="349"/>
                  </a:lnTo>
                  <a:lnTo>
                    <a:pt x="93" y="366"/>
                  </a:lnTo>
                  <a:lnTo>
                    <a:pt x="109" y="400"/>
                  </a:lnTo>
                  <a:lnTo>
                    <a:pt x="138" y="392"/>
                  </a:lnTo>
                  <a:lnTo>
                    <a:pt x="187" y="383"/>
                  </a:lnTo>
                  <a:lnTo>
                    <a:pt x="263" y="373"/>
                  </a:lnTo>
                  <a:lnTo>
                    <a:pt x="281" y="397"/>
                  </a:lnTo>
                  <a:lnTo>
                    <a:pt x="284" y="439"/>
                  </a:lnTo>
                  <a:lnTo>
                    <a:pt x="249" y="448"/>
                  </a:lnTo>
                  <a:lnTo>
                    <a:pt x="216" y="456"/>
                  </a:lnTo>
                  <a:lnTo>
                    <a:pt x="221" y="486"/>
                  </a:lnTo>
                  <a:lnTo>
                    <a:pt x="172" y="486"/>
                  </a:lnTo>
                  <a:lnTo>
                    <a:pt x="216" y="547"/>
                  </a:lnTo>
                  <a:lnTo>
                    <a:pt x="237" y="552"/>
                  </a:lnTo>
                  <a:lnTo>
                    <a:pt x="258" y="556"/>
                  </a:lnTo>
                  <a:lnTo>
                    <a:pt x="268" y="581"/>
                  </a:lnTo>
                  <a:lnTo>
                    <a:pt x="280" y="571"/>
                  </a:lnTo>
                  <a:lnTo>
                    <a:pt x="320" y="567"/>
                  </a:lnTo>
                  <a:lnTo>
                    <a:pt x="341" y="576"/>
                  </a:lnTo>
                  <a:lnTo>
                    <a:pt x="356" y="589"/>
                  </a:lnTo>
                  <a:lnTo>
                    <a:pt x="367" y="576"/>
                  </a:lnTo>
                  <a:lnTo>
                    <a:pt x="392" y="579"/>
                  </a:lnTo>
                  <a:lnTo>
                    <a:pt x="348" y="442"/>
                  </a:lnTo>
                  <a:lnTo>
                    <a:pt x="366" y="434"/>
                  </a:lnTo>
                  <a:lnTo>
                    <a:pt x="424" y="405"/>
                  </a:lnTo>
                  <a:lnTo>
                    <a:pt x="434" y="403"/>
                  </a:lnTo>
                  <a:lnTo>
                    <a:pt x="426" y="392"/>
                  </a:lnTo>
                  <a:lnTo>
                    <a:pt x="439" y="398"/>
                  </a:lnTo>
                  <a:lnTo>
                    <a:pt x="439" y="383"/>
                  </a:lnTo>
                  <a:lnTo>
                    <a:pt x="448" y="373"/>
                  </a:lnTo>
                  <a:lnTo>
                    <a:pt x="451" y="377"/>
                  </a:lnTo>
                  <a:lnTo>
                    <a:pt x="465" y="377"/>
                  </a:lnTo>
                  <a:lnTo>
                    <a:pt x="477" y="386"/>
                  </a:lnTo>
                  <a:lnTo>
                    <a:pt x="494" y="368"/>
                  </a:lnTo>
                  <a:lnTo>
                    <a:pt x="504" y="373"/>
                  </a:lnTo>
                  <a:lnTo>
                    <a:pt x="493" y="398"/>
                  </a:lnTo>
                  <a:lnTo>
                    <a:pt x="501" y="431"/>
                  </a:lnTo>
                  <a:lnTo>
                    <a:pt x="531" y="449"/>
                  </a:lnTo>
                  <a:lnTo>
                    <a:pt x="531" y="456"/>
                  </a:lnTo>
                  <a:lnTo>
                    <a:pt x="521" y="471"/>
                  </a:lnTo>
                  <a:lnTo>
                    <a:pt x="526" y="478"/>
                  </a:lnTo>
                  <a:lnTo>
                    <a:pt x="562" y="493"/>
                  </a:lnTo>
                  <a:lnTo>
                    <a:pt x="575" y="513"/>
                  </a:lnTo>
                  <a:lnTo>
                    <a:pt x="610" y="502"/>
                  </a:lnTo>
                  <a:lnTo>
                    <a:pt x="648" y="493"/>
                  </a:lnTo>
                  <a:lnTo>
                    <a:pt x="680" y="554"/>
                  </a:lnTo>
                  <a:lnTo>
                    <a:pt x="691" y="584"/>
                  </a:lnTo>
                  <a:lnTo>
                    <a:pt x="681" y="590"/>
                  </a:lnTo>
                  <a:lnTo>
                    <a:pt x="675" y="601"/>
                  </a:lnTo>
                  <a:lnTo>
                    <a:pt x="706" y="611"/>
                  </a:lnTo>
                  <a:lnTo>
                    <a:pt x="715" y="623"/>
                  </a:lnTo>
                  <a:lnTo>
                    <a:pt x="757" y="611"/>
                  </a:lnTo>
                  <a:lnTo>
                    <a:pt x="772" y="623"/>
                  </a:lnTo>
                  <a:lnTo>
                    <a:pt x="800" y="607"/>
                  </a:lnTo>
                  <a:lnTo>
                    <a:pt x="819" y="604"/>
                  </a:lnTo>
                  <a:lnTo>
                    <a:pt x="846" y="609"/>
                  </a:lnTo>
                  <a:lnTo>
                    <a:pt x="900" y="609"/>
                  </a:lnTo>
                  <a:lnTo>
                    <a:pt x="885" y="597"/>
                  </a:lnTo>
                  <a:lnTo>
                    <a:pt x="885" y="579"/>
                  </a:lnTo>
                  <a:lnTo>
                    <a:pt x="894" y="568"/>
                  </a:lnTo>
                  <a:lnTo>
                    <a:pt x="894" y="558"/>
                  </a:lnTo>
                  <a:lnTo>
                    <a:pt x="877" y="549"/>
                  </a:lnTo>
                  <a:lnTo>
                    <a:pt x="911" y="546"/>
                  </a:lnTo>
                  <a:lnTo>
                    <a:pt x="942" y="549"/>
                  </a:lnTo>
                  <a:lnTo>
                    <a:pt x="949" y="558"/>
                  </a:lnTo>
                  <a:lnTo>
                    <a:pt x="973" y="554"/>
                  </a:lnTo>
                  <a:lnTo>
                    <a:pt x="955" y="527"/>
                  </a:lnTo>
                  <a:lnTo>
                    <a:pt x="975" y="524"/>
                  </a:lnTo>
                  <a:lnTo>
                    <a:pt x="1059" y="535"/>
                  </a:lnTo>
                  <a:lnTo>
                    <a:pt x="1129" y="541"/>
                  </a:lnTo>
                  <a:lnTo>
                    <a:pt x="1180" y="563"/>
                  </a:lnTo>
                  <a:lnTo>
                    <a:pt x="1206" y="563"/>
                  </a:lnTo>
                  <a:lnTo>
                    <a:pt x="1214" y="589"/>
                  </a:lnTo>
                  <a:lnTo>
                    <a:pt x="1234" y="535"/>
                  </a:lnTo>
                  <a:lnTo>
                    <a:pt x="1206" y="475"/>
                  </a:lnTo>
                  <a:lnTo>
                    <a:pt x="1291" y="454"/>
                  </a:lnTo>
                  <a:lnTo>
                    <a:pt x="1301" y="422"/>
                  </a:lnTo>
                  <a:lnTo>
                    <a:pt x="1315" y="373"/>
                  </a:lnTo>
                  <a:lnTo>
                    <a:pt x="1403" y="377"/>
                  </a:lnTo>
                  <a:lnTo>
                    <a:pt x="1416" y="321"/>
                  </a:lnTo>
                  <a:close/>
                </a:path>
              </a:pathLst>
            </a:custGeom>
            <a:solidFill>
              <a:srgbClr val="00B0F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39" name="Freeform 241"/>
            <p:cNvSpPr>
              <a:spLocks noChangeAspect="1"/>
            </p:cNvSpPr>
            <p:nvPr/>
          </p:nvSpPr>
          <p:spPr bwMode="gray">
            <a:xfrm>
              <a:off x="5638222" y="2796735"/>
              <a:ext cx="457902" cy="333472"/>
            </a:xfrm>
            <a:custGeom>
              <a:avLst/>
              <a:gdLst>
                <a:gd name="T0" fmla="*/ 1 w 634"/>
                <a:gd name="T1" fmla="*/ 16 h 386"/>
                <a:gd name="T2" fmla="*/ 1 w 634"/>
                <a:gd name="T3" fmla="*/ 12 h 386"/>
                <a:gd name="T4" fmla="*/ 2 w 634"/>
                <a:gd name="T5" fmla="*/ 11 h 386"/>
                <a:gd name="T6" fmla="*/ 2 w 634"/>
                <a:gd name="T7" fmla="*/ 12 h 386"/>
                <a:gd name="T8" fmla="*/ 3 w 634"/>
                <a:gd name="T9" fmla="*/ 13 h 386"/>
                <a:gd name="T10" fmla="*/ 3 w 634"/>
                <a:gd name="T11" fmla="*/ 14 h 386"/>
                <a:gd name="T12" fmla="*/ 4 w 634"/>
                <a:gd name="T13" fmla="*/ 16 h 386"/>
                <a:gd name="T14" fmla="*/ 4 w 634"/>
                <a:gd name="T15" fmla="*/ 19 h 386"/>
                <a:gd name="T16" fmla="*/ 4 w 634"/>
                <a:gd name="T17" fmla="*/ 19 h 386"/>
                <a:gd name="T18" fmla="*/ 5 w 634"/>
                <a:gd name="T19" fmla="*/ 19 h 386"/>
                <a:gd name="T20" fmla="*/ 6 w 634"/>
                <a:gd name="T21" fmla="*/ 24 h 386"/>
                <a:gd name="T22" fmla="*/ 7 w 634"/>
                <a:gd name="T23" fmla="*/ 27 h 386"/>
                <a:gd name="T24" fmla="*/ 8 w 634"/>
                <a:gd name="T25" fmla="*/ 30 h 386"/>
                <a:gd name="T26" fmla="*/ 8 w 634"/>
                <a:gd name="T27" fmla="*/ 34 h 386"/>
                <a:gd name="T28" fmla="*/ 9 w 634"/>
                <a:gd name="T29" fmla="*/ 31 h 386"/>
                <a:gd name="T30" fmla="*/ 9 w 634"/>
                <a:gd name="T31" fmla="*/ 27 h 386"/>
                <a:gd name="T32" fmla="*/ 9 w 634"/>
                <a:gd name="T33" fmla="*/ 22 h 386"/>
                <a:gd name="T34" fmla="*/ 9 w 634"/>
                <a:gd name="T35" fmla="*/ 21 h 386"/>
                <a:gd name="T36" fmla="*/ 11 w 634"/>
                <a:gd name="T37" fmla="*/ 22 h 386"/>
                <a:gd name="T38" fmla="*/ 12 w 634"/>
                <a:gd name="T39" fmla="*/ 21 h 386"/>
                <a:gd name="T40" fmla="*/ 12 w 634"/>
                <a:gd name="T41" fmla="*/ 18 h 386"/>
                <a:gd name="T42" fmla="*/ 10 w 634"/>
                <a:gd name="T43" fmla="*/ 18 h 386"/>
                <a:gd name="T44" fmla="*/ 9 w 634"/>
                <a:gd name="T45" fmla="*/ 18 h 386"/>
                <a:gd name="T46" fmla="*/ 8 w 634"/>
                <a:gd name="T47" fmla="*/ 19 h 386"/>
                <a:gd name="T48" fmla="*/ 8 w 634"/>
                <a:gd name="T49" fmla="*/ 19 h 386"/>
                <a:gd name="T50" fmla="*/ 8 w 634"/>
                <a:gd name="T51" fmla="*/ 19 h 386"/>
                <a:gd name="T52" fmla="*/ 7 w 634"/>
                <a:gd name="T53" fmla="*/ 18 h 386"/>
                <a:gd name="T54" fmla="*/ 7 w 634"/>
                <a:gd name="T55" fmla="*/ 17 h 386"/>
                <a:gd name="T56" fmla="*/ 7 w 634"/>
                <a:gd name="T57" fmla="*/ 12 h 386"/>
                <a:gd name="T58" fmla="*/ 5 w 634"/>
                <a:gd name="T59" fmla="*/ 9 h 386"/>
                <a:gd name="T60" fmla="*/ 4 w 634"/>
                <a:gd name="T61" fmla="*/ 6 h 386"/>
                <a:gd name="T62" fmla="*/ 2 w 634"/>
                <a:gd name="T63" fmla="*/ 8 h 386"/>
                <a:gd name="T64" fmla="*/ 1 w 634"/>
                <a:gd name="T65" fmla="*/ 4 h 386"/>
                <a:gd name="T66" fmla="*/ 1 w 634"/>
                <a:gd name="T67" fmla="*/ 0 h 386"/>
                <a:gd name="T68" fmla="*/ 1 w 634"/>
                <a:gd name="T69" fmla="*/ 16 h 38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634"/>
                <a:gd name="T106" fmla="*/ 0 h 386"/>
                <a:gd name="T107" fmla="*/ 634 w 634"/>
                <a:gd name="T108" fmla="*/ 386 h 38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634" h="386">
                  <a:moveTo>
                    <a:pt x="44" y="176"/>
                  </a:moveTo>
                  <a:lnTo>
                    <a:pt x="60" y="173"/>
                  </a:lnTo>
                  <a:lnTo>
                    <a:pt x="66" y="157"/>
                  </a:lnTo>
                  <a:lnTo>
                    <a:pt x="71" y="144"/>
                  </a:lnTo>
                  <a:lnTo>
                    <a:pt x="91" y="151"/>
                  </a:lnTo>
                  <a:lnTo>
                    <a:pt x="86" y="132"/>
                  </a:lnTo>
                  <a:lnTo>
                    <a:pt x="103" y="124"/>
                  </a:lnTo>
                  <a:lnTo>
                    <a:pt x="113" y="138"/>
                  </a:lnTo>
                  <a:lnTo>
                    <a:pt x="129" y="138"/>
                  </a:lnTo>
                  <a:lnTo>
                    <a:pt x="145" y="146"/>
                  </a:lnTo>
                  <a:lnTo>
                    <a:pt x="153" y="151"/>
                  </a:lnTo>
                  <a:lnTo>
                    <a:pt x="153" y="155"/>
                  </a:lnTo>
                  <a:lnTo>
                    <a:pt x="155" y="167"/>
                  </a:lnTo>
                  <a:lnTo>
                    <a:pt x="173" y="173"/>
                  </a:lnTo>
                  <a:lnTo>
                    <a:pt x="173" y="190"/>
                  </a:lnTo>
                  <a:lnTo>
                    <a:pt x="188" y="217"/>
                  </a:lnTo>
                  <a:lnTo>
                    <a:pt x="205" y="220"/>
                  </a:lnTo>
                  <a:lnTo>
                    <a:pt x="212" y="212"/>
                  </a:lnTo>
                  <a:lnTo>
                    <a:pt x="230" y="203"/>
                  </a:lnTo>
                  <a:lnTo>
                    <a:pt x="246" y="217"/>
                  </a:lnTo>
                  <a:lnTo>
                    <a:pt x="266" y="239"/>
                  </a:lnTo>
                  <a:lnTo>
                    <a:pt x="296" y="269"/>
                  </a:lnTo>
                  <a:lnTo>
                    <a:pt x="349" y="282"/>
                  </a:lnTo>
                  <a:lnTo>
                    <a:pt x="350" y="301"/>
                  </a:lnTo>
                  <a:lnTo>
                    <a:pt x="384" y="313"/>
                  </a:lnTo>
                  <a:lnTo>
                    <a:pt x="400" y="331"/>
                  </a:lnTo>
                  <a:lnTo>
                    <a:pt x="389" y="385"/>
                  </a:lnTo>
                  <a:lnTo>
                    <a:pt x="420" y="386"/>
                  </a:lnTo>
                  <a:lnTo>
                    <a:pt x="441" y="359"/>
                  </a:lnTo>
                  <a:lnTo>
                    <a:pt x="453" y="343"/>
                  </a:lnTo>
                  <a:lnTo>
                    <a:pt x="462" y="329"/>
                  </a:lnTo>
                  <a:lnTo>
                    <a:pt x="457" y="303"/>
                  </a:lnTo>
                  <a:lnTo>
                    <a:pt x="432" y="293"/>
                  </a:lnTo>
                  <a:lnTo>
                    <a:pt x="437" y="245"/>
                  </a:lnTo>
                  <a:lnTo>
                    <a:pt x="460" y="227"/>
                  </a:lnTo>
                  <a:lnTo>
                    <a:pt x="479" y="233"/>
                  </a:lnTo>
                  <a:lnTo>
                    <a:pt x="526" y="225"/>
                  </a:lnTo>
                  <a:lnTo>
                    <a:pt x="534" y="244"/>
                  </a:lnTo>
                  <a:lnTo>
                    <a:pt x="561" y="243"/>
                  </a:lnTo>
                  <a:lnTo>
                    <a:pt x="619" y="239"/>
                  </a:lnTo>
                  <a:lnTo>
                    <a:pt x="634" y="217"/>
                  </a:lnTo>
                  <a:lnTo>
                    <a:pt x="619" y="204"/>
                  </a:lnTo>
                  <a:lnTo>
                    <a:pt x="581" y="204"/>
                  </a:lnTo>
                  <a:lnTo>
                    <a:pt x="517" y="204"/>
                  </a:lnTo>
                  <a:lnTo>
                    <a:pt x="491" y="204"/>
                  </a:lnTo>
                  <a:lnTo>
                    <a:pt x="465" y="200"/>
                  </a:lnTo>
                  <a:lnTo>
                    <a:pt x="424" y="220"/>
                  </a:lnTo>
                  <a:lnTo>
                    <a:pt x="419" y="217"/>
                  </a:lnTo>
                  <a:lnTo>
                    <a:pt x="409" y="208"/>
                  </a:lnTo>
                  <a:lnTo>
                    <a:pt x="388" y="212"/>
                  </a:lnTo>
                  <a:lnTo>
                    <a:pt x="367" y="220"/>
                  </a:lnTo>
                  <a:lnTo>
                    <a:pt x="364" y="216"/>
                  </a:lnTo>
                  <a:lnTo>
                    <a:pt x="359" y="208"/>
                  </a:lnTo>
                  <a:lnTo>
                    <a:pt x="333" y="200"/>
                  </a:lnTo>
                  <a:lnTo>
                    <a:pt x="327" y="198"/>
                  </a:lnTo>
                  <a:lnTo>
                    <a:pt x="332" y="187"/>
                  </a:lnTo>
                  <a:lnTo>
                    <a:pt x="344" y="181"/>
                  </a:lnTo>
                  <a:lnTo>
                    <a:pt x="327" y="143"/>
                  </a:lnTo>
                  <a:lnTo>
                    <a:pt x="300" y="90"/>
                  </a:lnTo>
                  <a:lnTo>
                    <a:pt x="228" y="107"/>
                  </a:lnTo>
                  <a:lnTo>
                    <a:pt x="212" y="90"/>
                  </a:lnTo>
                  <a:lnTo>
                    <a:pt x="178" y="75"/>
                  </a:lnTo>
                  <a:lnTo>
                    <a:pt x="146" y="97"/>
                  </a:lnTo>
                  <a:lnTo>
                    <a:pt x="114" y="91"/>
                  </a:lnTo>
                  <a:lnTo>
                    <a:pt x="80" y="68"/>
                  </a:lnTo>
                  <a:lnTo>
                    <a:pt x="75" y="40"/>
                  </a:lnTo>
                  <a:lnTo>
                    <a:pt x="78" y="20"/>
                  </a:lnTo>
                  <a:lnTo>
                    <a:pt x="76" y="0"/>
                  </a:lnTo>
                  <a:lnTo>
                    <a:pt x="0" y="40"/>
                  </a:lnTo>
                  <a:lnTo>
                    <a:pt x="44" y="176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40" name="Freeform 242"/>
            <p:cNvSpPr>
              <a:spLocks noChangeAspect="1"/>
            </p:cNvSpPr>
            <p:nvPr/>
          </p:nvSpPr>
          <p:spPr bwMode="gray">
            <a:xfrm>
              <a:off x="5580027" y="2906233"/>
              <a:ext cx="347638" cy="291995"/>
            </a:xfrm>
            <a:custGeom>
              <a:avLst/>
              <a:gdLst>
                <a:gd name="T0" fmla="*/ 0 w 485"/>
                <a:gd name="T1" fmla="*/ 4 h 338"/>
                <a:gd name="T2" fmla="*/ 0 w 485"/>
                <a:gd name="T3" fmla="*/ 8 h 338"/>
                <a:gd name="T4" fmla="*/ 0 w 485"/>
                <a:gd name="T5" fmla="*/ 6 h 338"/>
                <a:gd name="T6" fmla="*/ 1 w 485"/>
                <a:gd name="T7" fmla="*/ 9 h 338"/>
                <a:gd name="T8" fmla="*/ 1 w 485"/>
                <a:gd name="T9" fmla="*/ 11 h 338"/>
                <a:gd name="T10" fmla="*/ 0 w 485"/>
                <a:gd name="T11" fmla="*/ 9 h 338"/>
                <a:gd name="T12" fmla="*/ 0 w 485"/>
                <a:gd name="T13" fmla="*/ 11 h 338"/>
                <a:gd name="T14" fmla="*/ 0 w 485"/>
                <a:gd name="T15" fmla="*/ 14 h 338"/>
                <a:gd name="T16" fmla="*/ 0 w 485"/>
                <a:gd name="T17" fmla="*/ 14 h 338"/>
                <a:gd name="T18" fmla="*/ 0 w 485"/>
                <a:gd name="T19" fmla="*/ 15 h 338"/>
                <a:gd name="T20" fmla="*/ 0 w 485"/>
                <a:gd name="T21" fmla="*/ 17 h 338"/>
                <a:gd name="T22" fmla="*/ 0 w 485"/>
                <a:gd name="T23" fmla="*/ 22 h 338"/>
                <a:gd name="T24" fmla="*/ 2 w 485"/>
                <a:gd name="T25" fmla="*/ 21 h 338"/>
                <a:gd name="T26" fmla="*/ 3 w 485"/>
                <a:gd name="T27" fmla="*/ 19 h 338"/>
                <a:gd name="T28" fmla="*/ 4 w 485"/>
                <a:gd name="T29" fmla="*/ 22 h 338"/>
                <a:gd name="T30" fmla="*/ 5 w 485"/>
                <a:gd name="T31" fmla="*/ 24 h 338"/>
                <a:gd name="T32" fmla="*/ 5 w 485"/>
                <a:gd name="T33" fmla="*/ 26 h 338"/>
                <a:gd name="T34" fmla="*/ 5 w 485"/>
                <a:gd name="T35" fmla="*/ 28 h 338"/>
                <a:gd name="T36" fmla="*/ 7 w 485"/>
                <a:gd name="T37" fmla="*/ 30 h 338"/>
                <a:gd name="T38" fmla="*/ 7 w 485"/>
                <a:gd name="T39" fmla="*/ 23 h 338"/>
                <a:gd name="T40" fmla="*/ 8 w 485"/>
                <a:gd name="T41" fmla="*/ 23 h 338"/>
                <a:gd name="T42" fmla="*/ 8 w 485"/>
                <a:gd name="T43" fmla="*/ 20 h 338"/>
                <a:gd name="T44" fmla="*/ 9 w 485"/>
                <a:gd name="T45" fmla="*/ 19 h 338"/>
                <a:gd name="T46" fmla="*/ 8 w 485"/>
                <a:gd name="T47" fmla="*/ 17 h 338"/>
                <a:gd name="T48" fmla="*/ 8 w 485"/>
                <a:gd name="T49" fmla="*/ 16 h 338"/>
                <a:gd name="T50" fmla="*/ 7 w 485"/>
                <a:gd name="T51" fmla="*/ 14 h 338"/>
                <a:gd name="T52" fmla="*/ 7 w 485"/>
                <a:gd name="T53" fmla="*/ 12 h 338"/>
                <a:gd name="T54" fmla="*/ 7 w 485"/>
                <a:gd name="T55" fmla="*/ 10 h 338"/>
                <a:gd name="T56" fmla="*/ 6 w 485"/>
                <a:gd name="T57" fmla="*/ 8 h 338"/>
                <a:gd name="T58" fmla="*/ 6 w 485"/>
                <a:gd name="T59" fmla="*/ 7 h 338"/>
                <a:gd name="T60" fmla="*/ 5 w 485"/>
                <a:gd name="T61" fmla="*/ 8 h 338"/>
                <a:gd name="T62" fmla="*/ 5 w 485"/>
                <a:gd name="T63" fmla="*/ 8 h 338"/>
                <a:gd name="T64" fmla="*/ 5 w 485"/>
                <a:gd name="T65" fmla="*/ 8 h 338"/>
                <a:gd name="T66" fmla="*/ 5 w 485"/>
                <a:gd name="T67" fmla="*/ 6 h 338"/>
                <a:gd name="T68" fmla="*/ 5 w 485"/>
                <a:gd name="T69" fmla="*/ 4 h 338"/>
                <a:gd name="T70" fmla="*/ 4 w 485"/>
                <a:gd name="T71" fmla="*/ 4 h 338"/>
                <a:gd name="T72" fmla="*/ 4 w 485"/>
                <a:gd name="T73" fmla="*/ 3 h 338"/>
                <a:gd name="T74" fmla="*/ 4 w 485"/>
                <a:gd name="T75" fmla="*/ 2 h 338"/>
                <a:gd name="T76" fmla="*/ 3 w 485"/>
                <a:gd name="T77" fmla="*/ 2 h 338"/>
                <a:gd name="T78" fmla="*/ 3 w 485"/>
                <a:gd name="T79" fmla="*/ 0 h 338"/>
                <a:gd name="T80" fmla="*/ 3 w 485"/>
                <a:gd name="T81" fmla="*/ 1 h 338"/>
                <a:gd name="T82" fmla="*/ 3 w 485"/>
                <a:gd name="T83" fmla="*/ 3 h 338"/>
                <a:gd name="T84" fmla="*/ 3 w 485"/>
                <a:gd name="T85" fmla="*/ 2 h 338"/>
                <a:gd name="T86" fmla="*/ 3 w 485"/>
                <a:gd name="T87" fmla="*/ 2 h 338"/>
                <a:gd name="T88" fmla="*/ 3 w 485"/>
                <a:gd name="T89" fmla="*/ 4 h 338"/>
                <a:gd name="T90" fmla="*/ 2 w 485"/>
                <a:gd name="T91" fmla="*/ 5 h 338"/>
                <a:gd name="T92" fmla="*/ 2 w 485"/>
                <a:gd name="T93" fmla="*/ 4 h 338"/>
                <a:gd name="T94" fmla="*/ 1 w 485"/>
                <a:gd name="T95" fmla="*/ 5 h 338"/>
                <a:gd name="T96" fmla="*/ 1 w 485"/>
                <a:gd name="T97" fmla="*/ 4 h 338"/>
                <a:gd name="T98" fmla="*/ 1 w 485"/>
                <a:gd name="T99" fmla="*/ 3 h 338"/>
                <a:gd name="T100" fmla="*/ 0 w 485"/>
                <a:gd name="T101" fmla="*/ 4 h 3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85"/>
                <a:gd name="T154" fmla="*/ 0 h 338"/>
                <a:gd name="T155" fmla="*/ 485 w 485"/>
                <a:gd name="T156" fmla="*/ 338 h 3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85" h="338">
                  <a:moveTo>
                    <a:pt x="0" y="49"/>
                  </a:moveTo>
                  <a:lnTo>
                    <a:pt x="3" y="93"/>
                  </a:lnTo>
                  <a:lnTo>
                    <a:pt x="31" y="66"/>
                  </a:lnTo>
                  <a:lnTo>
                    <a:pt x="66" y="101"/>
                  </a:lnTo>
                  <a:lnTo>
                    <a:pt x="50" y="121"/>
                  </a:lnTo>
                  <a:lnTo>
                    <a:pt x="6" y="102"/>
                  </a:lnTo>
                  <a:lnTo>
                    <a:pt x="2" y="132"/>
                  </a:lnTo>
                  <a:lnTo>
                    <a:pt x="6" y="150"/>
                  </a:lnTo>
                  <a:lnTo>
                    <a:pt x="31" y="153"/>
                  </a:lnTo>
                  <a:lnTo>
                    <a:pt x="19" y="172"/>
                  </a:lnTo>
                  <a:lnTo>
                    <a:pt x="41" y="186"/>
                  </a:lnTo>
                  <a:lnTo>
                    <a:pt x="41" y="246"/>
                  </a:lnTo>
                  <a:lnTo>
                    <a:pt x="107" y="229"/>
                  </a:lnTo>
                  <a:lnTo>
                    <a:pt x="143" y="211"/>
                  </a:lnTo>
                  <a:lnTo>
                    <a:pt x="229" y="251"/>
                  </a:lnTo>
                  <a:lnTo>
                    <a:pt x="282" y="274"/>
                  </a:lnTo>
                  <a:lnTo>
                    <a:pt x="294" y="287"/>
                  </a:lnTo>
                  <a:lnTo>
                    <a:pt x="299" y="316"/>
                  </a:lnTo>
                  <a:lnTo>
                    <a:pt x="349" y="338"/>
                  </a:lnTo>
                  <a:lnTo>
                    <a:pt x="423" y="257"/>
                  </a:lnTo>
                  <a:lnTo>
                    <a:pt x="472" y="257"/>
                  </a:lnTo>
                  <a:lnTo>
                    <a:pt x="480" y="223"/>
                  </a:lnTo>
                  <a:lnTo>
                    <a:pt x="485" y="210"/>
                  </a:lnTo>
                  <a:lnTo>
                    <a:pt x="469" y="188"/>
                  </a:lnTo>
                  <a:lnTo>
                    <a:pt x="433" y="175"/>
                  </a:lnTo>
                  <a:lnTo>
                    <a:pt x="431" y="158"/>
                  </a:lnTo>
                  <a:lnTo>
                    <a:pt x="379" y="145"/>
                  </a:lnTo>
                  <a:lnTo>
                    <a:pt x="349" y="115"/>
                  </a:lnTo>
                  <a:lnTo>
                    <a:pt x="338" y="96"/>
                  </a:lnTo>
                  <a:lnTo>
                    <a:pt x="313" y="77"/>
                  </a:lnTo>
                  <a:lnTo>
                    <a:pt x="297" y="87"/>
                  </a:lnTo>
                  <a:lnTo>
                    <a:pt x="288" y="96"/>
                  </a:lnTo>
                  <a:lnTo>
                    <a:pt x="271" y="93"/>
                  </a:lnTo>
                  <a:lnTo>
                    <a:pt x="256" y="66"/>
                  </a:lnTo>
                  <a:lnTo>
                    <a:pt x="255" y="49"/>
                  </a:lnTo>
                  <a:lnTo>
                    <a:pt x="238" y="43"/>
                  </a:lnTo>
                  <a:lnTo>
                    <a:pt x="234" y="27"/>
                  </a:lnTo>
                  <a:lnTo>
                    <a:pt x="212" y="14"/>
                  </a:lnTo>
                  <a:lnTo>
                    <a:pt x="196" y="14"/>
                  </a:lnTo>
                  <a:lnTo>
                    <a:pt x="186" y="0"/>
                  </a:lnTo>
                  <a:lnTo>
                    <a:pt x="169" y="8"/>
                  </a:lnTo>
                  <a:lnTo>
                    <a:pt x="175" y="27"/>
                  </a:lnTo>
                  <a:lnTo>
                    <a:pt x="167" y="24"/>
                  </a:lnTo>
                  <a:lnTo>
                    <a:pt x="154" y="20"/>
                  </a:lnTo>
                  <a:lnTo>
                    <a:pt x="143" y="49"/>
                  </a:lnTo>
                  <a:lnTo>
                    <a:pt x="125" y="52"/>
                  </a:lnTo>
                  <a:lnTo>
                    <a:pt x="107" y="48"/>
                  </a:lnTo>
                  <a:lnTo>
                    <a:pt x="91" y="62"/>
                  </a:lnTo>
                  <a:lnTo>
                    <a:pt x="76" y="49"/>
                  </a:lnTo>
                  <a:lnTo>
                    <a:pt x="53" y="36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41" name="Freeform 243"/>
            <p:cNvSpPr>
              <a:spLocks noChangeAspect="1"/>
            </p:cNvSpPr>
            <p:nvPr/>
          </p:nvSpPr>
          <p:spPr bwMode="gray">
            <a:xfrm>
              <a:off x="5969014" y="2902915"/>
              <a:ext cx="292506" cy="145998"/>
            </a:xfrm>
            <a:custGeom>
              <a:avLst/>
              <a:gdLst>
                <a:gd name="T0" fmla="*/ 2 w 405"/>
                <a:gd name="T1" fmla="*/ 8 h 172"/>
                <a:gd name="T2" fmla="*/ 1 w 405"/>
                <a:gd name="T3" fmla="*/ 8 h 172"/>
                <a:gd name="T4" fmla="*/ 0 w 405"/>
                <a:gd name="T5" fmla="*/ 9 h 172"/>
                <a:gd name="T6" fmla="*/ 0 w 405"/>
                <a:gd name="T7" fmla="*/ 10 h 172"/>
                <a:gd name="T8" fmla="*/ 0 w 405"/>
                <a:gd name="T9" fmla="*/ 11 h 172"/>
                <a:gd name="T10" fmla="*/ 0 w 405"/>
                <a:gd name="T11" fmla="*/ 11 h 172"/>
                <a:gd name="T12" fmla="*/ 2 w 405"/>
                <a:gd name="T13" fmla="*/ 11 h 172"/>
                <a:gd name="T14" fmla="*/ 3 w 405"/>
                <a:gd name="T15" fmla="*/ 11 h 172"/>
                <a:gd name="T16" fmla="*/ 4 w 405"/>
                <a:gd name="T17" fmla="*/ 12 h 172"/>
                <a:gd name="T18" fmla="*/ 4 w 405"/>
                <a:gd name="T19" fmla="*/ 10 h 172"/>
                <a:gd name="T20" fmla="*/ 4 w 405"/>
                <a:gd name="T21" fmla="*/ 10 h 172"/>
                <a:gd name="T22" fmla="*/ 5 w 405"/>
                <a:gd name="T23" fmla="*/ 10 h 172"/>
                <a:gd name="T24" fmla="*/ 6 w 405"/>
                <a:gd name="T25" fmla="*/ 9 h 172"/>
                <a:gd name="T26" fmla="*/ 7 w 405"/>
                <a:gd name="T27" fmla="*/ 7 h 172"/>
                <a:gd name="T28" fmla="*/ 8 w 405"/>
                <a:gd name="T29" fmla="*/ 5 h 172"/>
                <a:gd name="T30" fmla="*/ 8 w 405"/>
                <a:gd name="T31" fmla="*/ 5 h 172"/>
                <a:gd name="T32" fmla="*/ 8 w 405"/>
                <a:gd name="T33" fmla="*/ 3 h 172"/>
                <a:gd name="T34" fmla="*/ 8 w 405"/>
                <a:gd name="T35" fmla="*/ 3 h 172"/>
                <a:gd name="T36" fmla="*/ 7 w 405"/>
                <a:gd name="T37" fmla="*/ 2 h 172"/>
                <a:gd name="T38" fmla="*/ 7 w 405"/>
                <a:gd name="T39" fmla="*/ 2 h 172"/>
                <a:gd name="T40" fmla="*/ 5 w 405"/>
                <a:gd name="T41" fmla="*/ 1 h 172"/>
                <a:gd name="T42" fmla="*/ 3 w 405"/>
                <a:gd name="T43" fmla="*/ 0 h 172"/>
                <a:gd name="T44" fmla="*/ 3 w 405"/>
                <a:gd name="T45" fmla="*/ 1 h 172"/>
                <a:gd name="T46" fmla="*/ 3 w 405"/>
                <a:gd name="T47" fmla="*/ 2 h 172"/>
                <a:gd name="T48" fmla="*/ 3 w 405"/>
                <a:gd name="T49" fmla="*/ 2 h 172"/>
                <a:gd name="T50" fmla="*/ 3 w 405"/>
                <a:gd name="T51" fmla="*/ 3 h 172"/>
                <a:gd name="T52" fmla="*/ 3 w 405"/>
                <a:gd name="T53" fmla="*/ 2 h 172"/>
                <a:gd name="T54" fmla="*/ 2 w 405"/>
                <a:gd name="T55" fmla="*/ 2 h 172"/>
                <a:gd name="T56" fmla="*/ 1 w 405"/>
                <a:gd name="T57" fmla="*/ 2 h 172"/>
                <a:gd name="T58" fmla="*/ 2 w 405"/>
                <a:gd name="T59" fmla="*/ 3 h 172"/>
                <a:gd name="T60" fmla="*/ 2 w 405"/>
                <a:gd name="T61" fmla="*/ 3 h 172"/>
                <a:gd name="T62" fmla="*/ 1 w 405"/>
                <a:gd name="T63" fmla="*/ 4 h 172"/>
                <a:gd name="T64" fmla="*/ 1 w 405"/>
                <a:gd name="T65" fmla="*/ 5 h 172"/>
                <a:gd name="T66" fmla="*/ 2 w 405"/>
                <a:gd name="T67" fmla="*/ 6 h 172"/>
                <a:gd name="T68" fmla="*/ 3 w 405"/>
                <a:gd name="T69" fmla="*/ 6 h 172"/>
                <a:gd name="T70" fmla="*/ 3 w 405"/>
                <a:gd name="T71" fmla="*/ 6 h 172"/>
                <a:gd name="T72" fmla="*/ 4 w 405"/>
                <a:gd name="T73" fmla="*/ 7 h 172"/>
                <a:gd name="T74" fmla="*/ 3 w 405"/>
                <a:gd name="T75" fmla="*/ 8 h 172"/>
                <a:gd name="T76" fmla="*/ 3 w 405"/>
                <a:gd name="T77" fmla="*/ 8 h 172"/>
                <a:gd name="T78" fmla="*/ 2 w 405"/>
                <a:gd name="T79" fmla="*/ 8 h 172"/>
                <a:gd name="T80" fmla="*/ 2 w 405"/>
                <a:gd name="T81" fmla="*/ 8 h 172"/>
                <a:gd name="T82" fmla="*/ 2 w 405"/>
                <a:gd name="T83" fmla="*/ 8 h 17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5"/>
                <a:gd name="T127" fmla="*/ 0 h 172"/>
                <a:gd name="T128" fmla="*/ 405 w 405"/>
                <a:gd name="T129" fmla="*/ 172 h 17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5" h="172">
                  <a:moveTo>
                    <a:pt x="103" y="122"/>
                  </a:moveTo>
                  <a:lnTo>
                    <a:pt x="74" y="122"/>
                  </a:lnTo>
                  <a:lnTo>
                    <a:pt x="15" y="129"/>
                  </a:lnTo>
                  <a:lnTo>
                    <a:pt x="0" y="148"/>
                  </a:lnTo>
                  <a:lnTo>
                    <a:pt x="15" y="156"/>
                  </a:lnTo>
                  <a:lnTo>
                    <a:pt x="27" y="162"/>
                  </a:lnTo>
                  <a:lnTo>
                    <a:pt x="109" y="161"/>
                  </a:lnTo>
                  <a:lnTo>
                    <a:pt x="163" y="161"/>
                  </a:lnTo>
                  <a:lnTo>
                    <a:pt x="187" y="172"/>
                  </a:lnTo>
                  <a:lnTo>
                    <a:pt x="196" y="150"/>
                  </a:lnTo>
                  <a:lnTo>
                    <a:pt x="219" y="148"/>
                  </a:lnTo>
                  <a:lnTo>
                    <a:pt x="252" y="140"/>
                  </a:lnTo>
                  <a:lnTo>
                    <a:pt x="280" y="135"/>
                  </a:lnTo>
                  <a:lnTo>
                    <a:pt x="332" y="106"/>
                  </a:lnTo>
                  <a:lnTo>
                    <a:pt x="387" y="79"/>
                  </a:lnTo>
                  <a:lnTo>
                    <a:pt x="405" y="65"/>
                  </a:lnTo>
                  <a:lnTo>
                    <a:pt x="398" y="39"/>
                  </a:lnTo>
                  <a:lnTo>
                    <a:pt x="372" y="39"/>
                  </a:lnTo>
                  <a:lnTo>
                    <a:pt x="346" y="27"/>
                  </a:lnTo>
                  <a:lnTo>
                    <a:pt x="320" y="17"/>
                  </a:lnTo>
                  <a:lnTo>
                    <a:pt x="251" y="11"/>
                  </a:lnTo>
                  <a:lnTo>
                    <a:pt x="167" y="0"/>
                  </a:lnTo>
                  <a:lnTo>
                    <a:pt x="150" y="3"/>
                  </a:lnTo>
                  <a:lnTo>
                    <a:pt x="154" y="17"/>
                  </a:lnTo>
                  <a:lnTo>
                    <a:pt x="165" y="30"/>
                  </a:lnTo>
                  <a:lnTo>
                    <a:pt x="141" y="34"/>
                  </a:lnTo>
                  <a:lnTo>
                    <a:pt x="134" y="25"/>
                  </a:lnTo>
                  <a:lnTo>
                    <a:pt x="107" y="22"/>
                  </a:lnTo>
                  <a:lnTo>
                    <a:pt x="69" y="25"/>
                  </a:lnTo>
                  <a:lnTo>
                    <a:pt x="86" y="34"/>
                  </a:lnTo>
                  <a:lnTo>
                    <a:pt x="90" y="44"/>
                  </a:lnTo>
                  <a:lnTo>
                    <a:pt x="77" y="55"/>
                  </a:lnTo>
                  <a:lnTo>
                    <a:pt x="77" y="73"/>
                  </a:lnTo>
                  <a:lnTo>
                    <a:pt x="92" y="85"/>
                  </a:lnTo>
                  <a:lnTo>
                    <a:pt x="141" y="85"/>
                  </a:lnTo>
                  <a:lnTo>
                    <a:pt x="158" y="83"/>
                  </a:lnTo>
                  <a:lnTo>
                    <a:pt x="174" y="99"/>
                  </a:lnTo>
                  <a:lnTo>
                    <a:pt x="156" y="120"/>
                  </a:lnTo>
                  <a:lnTo>
                    <a:pt x="139" y="120"/>
                  </a:lnTo>
                  <a:lnTo>
                    <a:pt x="121" y="118"/>
                  </a:lnTo>
                  <a:lnTo>
                    <a:pt x="113" y="120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  <p:sp>
          <p:nvSpPr>
            <p:cNvPr id="242" name="Freeform 244"/>
            <p:cNvSpPr>
              <a:spLocks noChangeAspect="1"/>
            </p:cNvSpPr>
            <p:nvPr/>
          </p:nvSpPr>
          <p:spPr bwMode="gray">
            <a:xfrm>
              <a:off x="5930728" y="2979232"/>
              <a:ext cx="183773" cy="150975"/>
            </a:xfrm>
            <a:custGeom>
              <a:avLst/>
              <a:gdLst>
                <a:gd name="T0" fmla="*/ 0 w 256"/>
                <a:gd name="T1" fmla="*/ 10 h 178"/>
                <a:gd name="T2" fmla="*/ 0 w 256"/>
                <a:gd name="T3" fmla="*/ 11 h 178"/>
                <a:gd name="T4" fmla="*/ 0 w 256"/>
                <a:gd name="T5" fmla="*/ 11 h 178"/>
                <a:gd name="T6" fmla="*/ 1 w 256"/>
                <a:gd name="T7" fmla="*/ 11 h 178"/>
                <a:gd name="T8" fmla="*/ 2 w 256"/>
                <a:gd name="T9" fmla="*/ 7 h 178"/>
                <a:gd name="T10" fmla="*/ 2 w 256"/>
                <a:gd name="T11" fmla="*/ 10 h 178"/>
                <a:gd name="T12" fmla="*/ 3 w 256"/>
                <a:gd name="T13" fmla="*/ 12 h 178"/>
                <a:gd name="T14" fmla="*/ 3 w 256"/>
                <a:gd name="T15" fmla="*/ 11 h 178"/>
                <a:gd name="T16" fmla="*/ 4 w 256"/>
                <a:gd name="T17" fmla="*/ 10 h 178"/>
                <a:gd name="T18" fmla="*/ 5 w 256"/>
                <a:gd name="T19" fmla="*/ 11 h 178"/>
                <a:gd name="T20" fmla="*/ 5 w 256"/>
                <a:gd name="T21" fmla="*/ 7 h 178"/>
                <a:gd name="T22" fmla="*/ 4 w 256"/>
                <a:gd name="T23" fmla="*/ 7 h 178"/>
                <a:gd name="T24" fmla="*/ 4 w 256"/>
                <a:gd name="T25" fmla="*/ 7 h 178"/>
                <a:gd name="T26" fmla="*/ 4 w 256"/>
                <a:gd name="T27" fmla="*/ 5 h 178"/>
                <a:gd name="T28" fmla="*/ 4 w 256"/>
                <a:gd name="T29" fmla="*/ 4 h 178"/>
                <a:gd name="T30" fmla="*/ 3 w 256"/>
                <a:gd name="T31" fmla="*/ 4 h 178"/>
                <a:gd name="T32" fmla="*/ 2 w 256"/>
                <a:gd name="T33" fmla="*/ 4 h 178"/>
                <a:gd name="T34" fmla="*/ 2 w 256"/>
                <a:gd name="T35" fmla="*/ 4 h 178"/>
                <a:gd name="T36" fmla="*/ 1 w 256"/>
                <a:gd name="T37" fmla="*/ 4 h 178"/>
                <a:gd name="T38" fmla="*/ 1 w 256"/>
                <a:gd name="T39" fmla="*/ 4 h 178"/>
                <a:gd name="T40" fmla="*/ 0 w 256"/>
                <a:gd name="T41" fmla="*/ 3 h 178"/>
                <a:gd name="T42" fmla="*/ 1 w 256"/>
                <a:gd name="T43" fmla="*/ 3 h 178"/>
                <a:gd name="T44" fmla="*/ 1 w 256"/>
                <a:gd name="T45" fmla="*/ 2 h 178"/>
                <a:gd name="T46" fmla="*/ 2 w 256"/>
                <a:gd name="T47" fmla="*/ 2 h 178"/>
                <a:gd name="T48" fmla="*/ 2 w 256"/>
                <a:gd name="T49" fmla="*/ 0 h 178"/>
                <a:gd name="T50" fmla="*/ 1 w 256"/>
                <a:gd name="T51" fmla="*/ 1 h 178"/>
                <a:gd name="T52" fmla="*/ 0 w 256"/>
                <a:gd name="T53" fmla="*/ 1 h 178"/>
                <a:gd name="T54" fmla="*/ 0 w 256"/>
                <a:gd name="T55" fmla="*/ 2 h 178"/>
                <a:gd name="T56" fmla="*/ 0 w 256"/>
                <a:gd name="T57" fmla="*/ 4 h 178"/>
                <a:gd name="T58" fmla="*/ 0 w 256"/>
                <a:gd name="T59" fmla="*/ 5 h 178"/>
                <a:gd name="T60" fmla="*/ 0 w 256"/>
                <a:gd name="T61" fmla="*/ 5 h 178"/>
                <a:gd name="T62" fmla="*/ 0 w 256"/>
                <a:gd name="T63" fmla="*/ 5 h 178"/>
                <a:gd name="T64" fmla="*/ 0 w 256"/>
                <a:gd name="T65" fmla="*/ 7 h 178"/>
                <a:gd name="T66" fmla="*/ 0 w 256"/>
                <a:gd name="T67" fmla="*/ 8 h 178"/>
                <a:gd name="T68" fmla="*/ 0 w 256"/>
                <a:gd name="T69" fmla="*/ 8 h 178"/>
                <a:gd name="T70" fmla="*/ 0 w 256"/>
                <a:gd name="T71" fmla="*/ 9 h 178"/>
                <a:gd name="T72" fmla="*/ 0 w 256"/>
                <a:gd name="T73" fmla="*/ 10 h 17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56"/>
                <a:gd name="T112" fmla="*/ 0 h 178"/>
                <a:gd name="T113" fmla="*/ 256 w 256"/>
                <a:gd name="T114" fmla="*/ 178 h 17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56" h="178">
                  <a:moveTo>
                    <a:pt x="0" y="151"/>
                  </a:moveTo>
                  <a:lnTo>
                    <a:pt x="2" y="159"/>
                  </a:lnTo>
                  <a:lnTo>
                    <a:pt x="20" y="161"/>
                  </a:lnTo>
                  <a:lnTo>
                    <a:pt x="67" y="162"/>
                  </a:lnTo>
                  <a:lnTo>
                    <a:pt x="121" y="106"/>
                  </a:lnTo>
                  <a:lnTo>
                    <a:pt x="134" y="143"/>
                  </a:lnTo>
                  <a:lnTo>
                    <a:pt x="149" y="178"/>
                  </a:lnTo>
                  <a:lnTo>
                    <a:pt x="182" y="164"/>
                  </a:lnTo>
                  <a:lnTo>
                    <a:pt x="219" y="150"/>
                  </a:lnTo>
                  <a:lnTo>
                    <a:pt x="254" y="161"/>
                  </a:lnTo>
                  <a:lnTo>
                    <a:pt x="256" y="109"/>
                  </a:lnTo>
                  <a:lnTo>
                    <a:pt x="231" y="98"/>
                  </a:lnTo>
                  <a:lnTo>
                    <a:pt x="216" y="100"/>
                  </a:lnTo>
                  <a:lnTo>
                    <a:pt x="227" y="67"/>
                  </a:lnTo>
                  <a:lnTo>
                    <a:pt x="197" y="60"/>
                  </a:lnTo>
                  <a:lnTo>
                    <a:pt x="171" y="57"/>
                  </a:lnTo>
                  <a:lnTo>
                    <a:pt x="135" y="57"/>
                  </a:lnTo>
                  <a:lnTo>
                    <a:pt x="106" y="57"/>
                  </a:lnTo>
                  <a:lnTo>
                    <a:pt x="72" y="57"/>
                  </a:lnTo>
                  <a:lnTo>
                    <a:pt x="42" y="51"/>
                  </a:lnTo>
                  <a:lnTo>
                    <a:pt x="38" y="46"/>
                  </a:lnTo>
                  <a:lnTo>
                    <a:pt x="44" y="34"/>
                  </a:lnTo>
                  <a:lnTo>
                    <a:pt x="56" y="25"/>
                  </a:lnTo>
                  <a:lnTo>
                    <a:pt x="105" y="17"/>
                  </a:lnTo>
                  <a:lnTo>
                    <a:pt x="102" y="0"/>
                  </a:lnTo>
                  <a:lnTo>
                    <a:pt x="66" y="6"/>
                  </a:lnTo>
                  <a:lnTo>
                    <a:pt x="34" y="3"/>
                  </a:lnTo>
                  <a:lnTo>
                    <a:pt x="13" y="20"/>
                  </a:lnTo>
                  <a:lnTo>
                    <a:pt x="7" y="57"/>
                  </a:lnTo>
                  <a:lnTo>
                    <a:pt x="8" y="66"/>
                  </a:lnTo>
                  <a:lnTo>
                    <a:pt x="5" y="68"/>
                  </a:lnTo>
                  <a:lnTo>
                    <a:pt x="28" y="76"/>
                  </a:lnTo>
                  <a:lnTo>
                    <a:pt x="39" y="95"/>
                  </a:lnTo>
                  <a:lnTo>
                    <a:pt x="33" y="118"/>
                  </a:lnTo>
                  <a:lnTo>
                    <a:pt x="27" y="121"/>
                  </a:lnTo>
                  <a:lnTo>
                    <a:pt x="18" y="131"/>
                  </a:lnTo>
                  <a:lnTo>
                    <a:pt x="0" y="151"/>
                  </a:lnTo>
                  <a:close/>
                </a:path>
              </a:pathLst>
            </a:custGeom>
            <a:solidFill>
              <a:srgbClr val="00A9E0"/>
            </a:solidFill>
            <a:ln w="3175" cap="rnd">
              <a:solidFill>
                <a:srgbClr val="001E46"/>
              </a:solidFill>
              <a:round/>
              <a:headEnd/>
              <a:tailEnd/>
            </a:ln>
          </p:spPr>
          <p:txBody>
            <a:bodyPr lIns="91423" tIns="45712" rIns="91423" bIns="45712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ffra"/>
              </a:endParaRPr>
            </a:p>
          </p:txBody>
        </p:sp>
      </p:grpSp>
      <p:sp>
        <p:nvSpPr>
          <p:cNvPr id="243" name="TextBox 241"/>
          <p:cNvSpPr txBox="1">
            <a:spLocks noChangeArrowheads="1"/>
          </p:cNvSpPr>
          <p:nvPr/>
        </p:nvSpPr>
        <p:spPr bwMode="auto">
          <a:xfrm>
            <a:off x="8227899" y="5029200"/>
            <a:ext cx="853896" cy="523220"/>
          </a:xfrm>
          <a:prstGeom prst="rect">
            <a:avLst/>
          </a:prstGeom>
          <a:solidFill>
            <a:schemeClr val="bg1"/>
          </a:solidFill>
          <a:ln w="38100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Australia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nl-NL" sz="1400" kern="0" dirty="0">
                <a:solidFill>
                  <a:srgbClr val="61207A"/>
                </a:solidFill>
                <a:latin typeface="+mn-lt"/>
              </a:rPr>
              <a:t>5</a:t>
            </a:r>
            <a:r>
              <a:rPr lang="en-US" altLang="nl-NL" sz="1400" kern="0" dirty="0" smtClean="0">
                <a:solidFill>
                  <a:srgbClr val="61207A"/>
                </a:solidFill>
                <a:latin typeface="+mn-lt"/>
              </a:rPr>
              <a:t> sites</a:t>
            </a:r>
            <a:endParaRPr kumimoji="0" lang="nl-NL" altLang="nl-NL" sz="1400" b="0" i="0" u="none" strike="noStrike" kern="0" cap="none" spc="0" normalizeH="0" baseline="0" noProof="0" dirty="0">
              <a:ln>
                <a:noFill/>
              </a:ln>
              <a:solidFill>
                <a:srgbClr val="61207A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44" name="TextBox 2"/>
          <p:cNvSpPr txBox="1">
            <a:spLocks noChangeArrowheads="1"/>
          </p:cNvSpPr>
          <p:nvPr/>
        </p:nvSpPr>
        <p:spPr bwMode="auto">
          <a:xfrm>
            <a:off x="4824402" y="1991380"/>
            <a:ext cx="814398" cy="523220"/>
          </a:xfrm>
          <a:prstGeom prst="rect">
            <a:avLst/>
          </a:prstGeom>
          <a:solidFill>
            <a:schemeClr val="bg1"/>
          </a:solidFill>
          <a:ln w="38100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Canad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nl-NL" sz="1400" kern="0" dirty="0" smtClean="0">
                <a:solidFill>
                  <a:srgbClr val="61207A"/>
                </a:solidFill>
                <a:latin typeface="+mn-lt"/>
              </a:rPr>
              <a:t>4 sites</a:t>
            </a:r>
            <a:endParaRPr kumimoji="0" lang="nl-NL" altLang="nl-NL" sz="1400" b="0" i="0" u="none" strike="noStrike" kern="0" cap="none" spc="0" normalizeH="0" baseline="0" noProof="0" dirty="0">
              <a:ln>
                <a:noFill/>
              </a:ln>
              <a:solidFill>
                <a:srgbClr val="61207A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45" name="TextBox 243"/>
          <p:cNvSpPr txBox="1">
            <a:spLocks noChangeArrowheads="1"/>
          </p:cNvSpPr>
          <p:nvPr/>
        </p:nvSpPr>
        <p:spPr bwMode="auto">
          <a:xfrm>
            <a:off x="4384628" y="4277786"/>
            <a:ext cx="819325" cy="738664"/>
          </a:xfrm>
          <a:prstGeom prst="rect">
            <a:avLst/>
          </a:prstGeom>
          <a:solidFill>
            <a:schemeClr val="bg1"/>
          </a:solidFill>
          <a:ln w="38100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Latin Americ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3 sites</a:t>
            </a:r>
            <a:endParaRPr kumimoji="0" lang="nl-NL" altLang="nl-NL" sz="1400" b="0" i="0" u="none" strike="noStrike" kern="0" cap="none" spc="0" normalizeH="0" baseline="0" noProof="0" dirty="0">
              <a:ln>
                <a:noFill/>
              </a:ln>
              <a:solidFill>
                <a:srgbClr val="61207A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46" name="TextBox 242"/>
          <p:cNvSpPr txBox="1">
            <a:spLocks noChangeArrowheads="1"/>
          </p:cNvSpPr>
          <p:nvPr/>
        </p:nvSpPr>
        <p:spPr bwMode="auto">
          <a:xfrm>
            <a:off x="7790169" y="3287186"/>
            <a:ext cx="1090259" cy="738664"/>
          </a:xfrm>
          <a:prstGeom prst="rect">
            <a:avLst/>
          </a:prstGeom>
          <a:solidFill>
            <a:schemeClr val="bg1"/>
          </a:solidFill>
          <a:ln w="38100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Middle East</a:t>
            </a:r>
            <a:r>
              <a:rPr kumimoji="0" lang="en-US" altLang="nl-NL" sz="1400" b="0" i="0" u="none" strike="noStrike" kern="0" cap="none" spc="0" normalizeH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 &amp; </a:t>
            </a: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Afric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nl-NL" sz="1400" kern="0" dirty="0">
                <a:solidFill>
                  <a:srgbClr val="61207A"/>
                </a:solidFill>
                <a:latin typeface="+mn-lt"/>
              </a:rPr>
              <a:t>3</a:t>
            </a: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 sites</a:t>
            </a:r>
            <a:endParaRPr kumimoji="0" lang="nl-NL" altLang="nl-NL" sz="1400" b="0" i="0" u="none" strike="noStrike" kern="0" cap="none" spc="0" normalizeH="0" baseline="0" noProof="0" dirty="0">
              <a:ln>
                <a:noFill/>
              </a:ln>
              <a:solidFill>
                <a:srgbClr val="61207A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47" name="TextBox 244"/>
          <p:cNvSpPr txBox="1">
            <a:spLocks noChangeArrowheads="1"/>
          </p:cNvSpPr>
          <p:nvPr/>
        </p:nvSpPr>
        <p:spPr bwMode="auto">
          <a:xfrm>
            <a:off x="6393346" y="1981200"/>
            <a:ext cx="809031" cy="523220"/>
          </a:xfrm>
          <a:prstGeom prst="rect">
            <a:avLst/>
          </a:prstGeom>
          <a:solidFill>
            <a:schemeClr val="bg1"/>
          </a:solidFill>
          <a:ln w="38100">
            <a:solidFill>
              <a:srgbClr val="92D05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656565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Europ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61207A"/>
                </a:solidFill>
                <a:effectLst/>
                <a:uLnTx/>
                <a:uFillTx/>
                <a:latin typeface="+mn-lt"/>
              </a:rPr>
              <a:t>45 sites</a:t>
            </a:r>
            <a:endParaRPr kumimoji="0" lang="nl-NL" altLang="nl-NL" sz="1400" b="0" i="0" u="none" strike="noStrike" kern="0" cap="none" spc="0" normalizeH="0" baseline="0" noProof="0" dirty="0">
              <a:ln>
                <a:noFill/>
              </a:ln>
              <a:solidFill>
                <a:srgbClr val="61207A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6477000" y="1143000"/>
            <a:ext cx="2442399" cy="646331"/>
          </a:xfrm>
          <a:prstGeom prst="rect">
            <a:avLst/>
          </a:prstGeom>
          <a:ln w="28575">
            <a:solidFill>
              <a:srgbClr val="FFD815"/>
            </a:solidFill>
          </a:ln>
        </p:spPr>
        <p:txBody>
          <a:bodyPr wrap="none">
            <a:spAutoFit/>
          </a:bodyPr>
          <a:lstStyle/>
          <a:p>
            <a:pPr algn="r"/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0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es in </a:t>
            </a:r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tries</a:t>
            </a:r>
          </a:p>
          <a:p>
            <a:pPr algn="r"/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rollment 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date</a:t>
            </a:r>
            <a:r>
              <a:rPr lang="en-US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805</a:t>
            </a:r>
            <a:endParaRPr lang="en-US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6200" y="1427723"/>
            <a:ext cx="4724400" cy="4439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rgbClr val="FFD815"/>
                </a:solidFill>
              </a:rPr>
              <a:t>Steering </a:t>
            </a:r>
            <a:r>
              <a:rPr lang="en-US" sz="1600" b="1" dirty="0">
                <a:solidFill>
                  <a:srgbClr val="FFD815"/>
                </a:solidFill>
              </a:rPr>
              <a:t>Committee Members</a:t>
            </a:r>
          </a:p>
          <a:p>
            <a:pPr>
              <a:spcBef>
                <a:spcPts val="300"/>
              </a:spcBef>
            </a:pPr>
            <a:r>
              <a:rPr lang="en-US" sz="1600" dirty="0"/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*Eberhard </a:t>
            </a:r>
            <a:r>
              <a:rPr lang="en-US" sz="1600" dirty="0" err="1">
                <a:solidFill>
                  <a:schemeClr val="bg1"/>
                </a:solidFill>
              </a:rPr>
              <a:t>Grube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400" i="1" dirty="0">
                <a:solidFill>
                  <a:schemeClr val="bg1"/>
                </a:solidFill>
              </a:rPr>
              <a:t>University of Bonn </a:t>
            </a:r>
            <a:endParaRPr lang="en-US" sz="1600" i="1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*Stephan </a:t>
            </a:r>
            <a:r>
              <a:rPr lang="en-US" sz="1600" dirty="0" err="1">
                <a:solidFill>
                  <a:schemeClr val="bg1"/>
                </a:solidFill>
              </a:rPr>
              <a:t>Windecker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400" i="1" dirty="0" err="1">
                <a:solidFill>
                  <a:schemeClr val="bg1"/>
                </a:solidFill>
              </a:rPr>
              <a:t>Inselspital</a:t>
            </a:r>
            <a:r>
              <a:rPr lang="en-US" sz="1400" i="1" dirty="0">
                <a:solidFill>
                  <a:schemeClr val="bg1"/>
                </a:solidFill>
              </a:rPr>
              <a:t>/</a:t>
            </a:r>
            <a:r>
              <a:rPr lang="en-US" sz="1400" i="1" dirty="0" err="1">
                <a:solidFill>
                  <a:schemeClr val="bg1"/>
                </a:solidFill>
              </a:rPr>
              <a:t>Universitätsspital</a:t>
            </a:r>
            <a:r>
              <a:rPr lang="en-US" sz="1400" i="1" dirty="0">
                <a:solidFill>
                  <a:schemeClr val="bg1"/>
                </a:solidFill>
              </a:rPr>
              <a:t> Bern 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Sabine </a:t>
            </a:r>
            <a:r>
              <a:rPr lang="en-US" sz="1600" dirty="0" err="1">
                <a:solidFill>
                  <a:schemeClr val="bg1"/>
                </a:solidFill>
              </a:rPr>
              <a:t>Bleiziffer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400" i="1" dirty="0" err="1">
                <a:solidFill>
                  <a:schemeClr val="bg1"/>
                </a:solidFill>
              </a:rPr>
              <a:t>Deutsches</a:t>
            </a:r>
            <a:r>
              <a:rPr lang="en-US" sz="1400" i="1" dirty="0">
                <a:solidFill>
                  <a:schemeClr val="bg1"/>
                </a:solidFill>
              </a:rPr>
              <a:t> </a:t>
            </a:r>
            <a:r>
              <a:rPr lang="en-US" sz="1400" i="1" dirty="0" err="1">
                <a:solidFill>
                  <a:schemeClr val="bg1"/>
                </a:solidFill>
              </a:rPr>
              <a:t>Herzzentrum</a:t>
            </a:r>
            <a:r>
              <a:rPr lang="en-US" sz="1400" i="1" dirty="0">
                <a:solidFill>
                  <a:schemeClr val="bg1"/>
                </a:solidFill>
              </a:rPr>
              <a:t> </a:t>
            </a:r>
            <a:r>
              <a:rPr lang="en-US" sz="1400" i="1" dirty="0" err="1">
                <a:solidFill>
                  <a:schemeClr val="bg1"/>
                </a:solidFill>
              </a:rPr>
              <a:t>München</a:t>
            </a:r>
            <a:r>
              <a:rPr lang="en-US" sz="1400" i="1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Johan Bosmans, </a:t>
            </a:r>
            <a:r>
              <a:rPr lang="en-US" sz="1400" i="1" dirty="0">
                <a:solidFill>
                  <a:schemeClr val="bg1"/>
                </a:solidFill>
              </a:rPr>
              <a:t>UZ Antwerp 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Ganesh </a:t>
            </a:r>
            <a:r>
              <a:rPr lang="en-US" sz="1600" dirty="0" err="1">
                <a:solidFill>
                  <a:schemeClr val="bg1"/>
                </a:solidFill>
              </a:rPr>
              <a:t>Manoharan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400" i="1" dirty="0">
                <a:solidFill>
                  <a:schemeClr val="bg1"/>
                </a:solidFill>
              </a:rPr>
              <a:t>Royal Victoria Hospital Belfast</a:t>
            </a:r>
          </a:p>
          <a:p>
            <a:pPr>
              <a:spcBef>
                <a:spcPts val="300"/>
              </a:spcBef>
            </a:pPr>
            <a:r>
              <a:rPr lang="en-US" sz="1600" dirty="0" smtClean="0">
                <a:solidFill>
                  <a:schemeClr val="bg1"/>
                </a:solidFill>
              </a:rPr>
              <a:t>    Thomas </a:t>
            </a:r>
            <a:r>
              <a:rPr lang="en-US" sz="1600" dirty="0" err="1">
                <a:solidFill>
                  <a:schemeClr val="bg1"/>
                </a:solidFill>
              </a:rPr>
              <a:t>Modine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400" i="1" dirty="0">
                <a:solidFill>
                  <a:schemeClr val="bg1"/>
                </a:solidFill>
              </a:rPr>
              <a:t>CHRU de Lille </a:t>
            </a:r>
            <a:endParaRPr lang="en-US" sz="1600" i="1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Nicolas Van </a:t>
            </a:r>
            <a:r>
              <a:rPr lang="en-US" sz="1600" dirty="0" err="1">
                <a:solidFill>
                  <a:schemeClr val="bg1"/>
                </a:solidFill>
              </a:rPr>
              <a:t>Mieghem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400" i="1" dirty="0">
                <a:solidFill>
                  <a:schemeClr val="bg1"/>
                </a:solidFill>
              </a:rPr>
              <a:t>Erasmus MC Rotterdam</a:t>
            </a:r>
          </a:p>
          <a:p>
            <a:pPr>
              <a:spcBef>
                <a:spcPts val="300"/>
              </a:spcBef>
            </a:pPr>
            <a:endParaRPr lang="en-US" sz="1050" dirty="0"/>
          </a:p>
          <a:p>
            <a:pPr>
              <a:spcBef>
                <a:spcPts val="300"/>
              </a:spcBef>
            </a:pPr>
            <a:r>
              <a:rPr lang="en-US" sz="1600" b="1" dirty="0">
                <a:solidFill>
                  <a:srgbClr val="FFD815"/>
                </a:solidFill>
              </a:rPr>
              <a:t>Echocardiographic Core Lab</a:t>
            </a: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Jae Oh, </a:t>
            </a:r>
            <a:r>
              <a:rPr lang="en-US" sz="1400" i="1" dirty="0" smtClean="0">
                <a:solidFill>
                  <a:schemeClr val="bg1"/>
                </a:solidFill>
              </a:rPr>
              <a:t>Mayo </a:t>
            </a:r>
            <a:r>
              <a:rPr lang="en-US" sz="1400" i="1" dirty="0">
                <a:solidFill>
                  <a:schemeClr val="bg1"/>
                </a:solidFill>
              </a:rPr>
              <a:t>Clinic, Rochester, MN</a:t>
            </a:r>
          </a:p>
          <a:p>
            <a:pPr>
              <a:spcBef>
                <a:spcPts val="300"/>
              </a:spcBef>
            </a:pPr>
            <a:endParaRPr lang="en-US" sz="1050" dirty="0"/>
          </a:p>
          <a:p>
            <a:pPr>
              <a:spcBef>
                <a:spcPts val="300"/>
              </a:spcBef>
            </a:pPr>
            <a:r>
              <a:rPr lang="en-US" sz="1600" b="1" dirty="0">
                <a:solidFill>
                  <a:srgbClr val="FFD815"/>
                </a:solidFill>
              </a:rPr>
              <a:t>Clinical Events Committee</a:t>
            </a:r>
          </a:p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rgbClr val="FFD815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Harvard Clinical Research Institute </a:t>
            </a:r>
          </a:p>
          <a:p>
            <a:pPr>
              <a:spcBef>
                <a:spcPts val="300"/>
              </a:spcBef>
            </a:pPr>
            <a:r>
              <a:rPr lang="en-US" sz="1600" b="1" dirty="0" smtClean="0">
                <a:solidFill>
                  <a:srgbClr val="FFD815"/>
                </a:solidFill>
              </a:rPr>
              <a:t>Sponsor</a:t>
            </a:r>
            <a:endParaRPr lang="en-US" sz="1600" b="1" dirty="0">
              <a:solidFill>
                <a:srgbClr val="FFD815"/>
              </a:solidFill>
            </a:endParaRPr>
          </a:p>
          <a:p>
            <a:pPr>
              <a:spcBef>
                <a:spcPts val="300"/>
              </a:spcBef>
            </a:pPr>
            <a:r>
              <a:rPr lang="en-US" sz="1600" dirty="0">
                <a:solidFill>
                  <a:schemeClr val="bg1"/>
                </a:solidFill>
              </a:rPr>
              <a:t>    </a:t>
            </a:r>
            <a:r>
              <a:rPr lang="en-US" sz="1600" dirty="0" smtClean="0">
                <a:solidFill>
                  <a:schemeClr val="bg1"/>
                </a:solidFill>
              </a:rPr>
              <a:t>Medtronic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8600" y="6096000"/>
            <a:ext cx="3886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*Co-principal Investigators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4924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3" grpId="0" animBg="1"/>
      <p:bldP spid="244" grpId="0" animBg="1"/>
      <p:bldP spid="245" grpId="0" animBg="1"/>
      <p:bldP spid="246" grpId="0" animBg="1"/>
      <p:bldP spid="247" grpId="0" animBg="1"/>
      <p:bldP spid="24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036333"/>
              </p:ext>
            </p:extLst>
          </p:nvPr>
        </p:nvGraphicFramePr>
        <p:xfrm>
          <a:off x="152400" y="868334"/>
          <a:ext cx="8534400" cy="51514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77316"/>
                <a:gridCol w="1757084"/>
              </a:tblGrid>
              <a:tr h="56922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racteristic - % or mean ± standard deviation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EVOLUT R</a:t>
                      </a:r>
                      <a:b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=30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ge (years)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2.0 ± 5.7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FFD8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emal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.3 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TS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core (%)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6 ± 3.8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   &lt;4%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43.3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   4-8%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40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    &gt;8%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6.7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uroSCORE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I (%)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6 ± 4.8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YHA III/IV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72.6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abete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.0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erum Creatinine &gt;2 mg/dl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7.4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ronic Lung Disease (COPD)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24.5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erebrovascular Diseas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4.7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railty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34.1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7303">
                <a:tc>
                  <a:txBody>
                    <a:bodyPr/>
                    <a:lstStyle/>
                    <a:p>
                      <a:pPr marL="0" marR="0" indent="0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Assisted Living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Arial" panose="020B0604020202020204" pitchFamily="34" charset="0"/>
                        </a:rPr>
                        <a:t>13.2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099" marR="6099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200" y="0"/>
            <a:ext cx="8928100" cy="928687"/>
          </a:xfrm>
        </p:spPr>
        <p:txBody>
          <a:bodyPr/>
          <a:lstStyle/>
          <a:p>
            <a:r>
              <a:rPr lang="en-US" sz="3600" dirty="0" smtClean="0">
                <a:solidFill>
                  <a:srgbClr val="FFD815"/>
                </a:solidFill>
              </a:rPr>
              <a:t>Baseline Clinical Characteristics</a:t>
            </a:r>
            <a:endParaRPr lang="en-US" sz="3600" dirty="0">
              <a:solidFill>
                <a:srgbClr val="FFD81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3318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6bf2a098-090c-42be-a234-d26224946ea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.uBoSYq0W5ty8oI3om8Q"/>
</p:tagLst>
</file>

<file path=ppt/theme/theme1.xml><?xml version="1.0" encoding="utf-8"?>
<a:theme xmlns:a="http://schemas.openxmlformats.org/drawingml/2006/main" name="16_Default Design">
  <a:themeElements>
    <a:clrScheme name="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F2D2A8"/>
      </a:accent1>
      <a:accent2>
        <a:srgbClr val="E37F1C"/>
      </a:accent2>
      <a:accent3>
        <a:srgbClr val="FFFFFF"/>
      </a:accent3>
      <a:accent4>
        <a:srgbClr val="000000"/>
      </a:accent4>
      <a:accent5>
        <a:srgbClr val="F7E5D1"/>
      </a:accent5>
      <a:accent6>
        <a:srgbClr val="CE7218"/>
      </a:accent6>
      <a:hlink>
        <a:srgbClr val="FFCC00"/>
      </a:hlink>
      <a:folHlink>
        <a:srgbClr val="FEFE76"/>
      </a:folHlink>
    </a:clrScheme>
    <a:fontScheme name="14_Default Design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4_Defaul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FF00"/>
        </a:accent1>
        <a:accent2>
          <a:srgbClr val="B5121B"/>
        </a:accent2>
        <a:accent3>
          <a:srgbClr val="FFFFFF"/>
        </a:accent3>
        <a:accent4>
          <a:srgbClr val="000000"/>
        </a:accent4>
        <a:accent5>
          <a:srgbClr val="FFFFAA"/>
        </a:accent5>
        <a:accent6>
          <a:srgbClr val="A40F17"/>
        </a:accent6>
        <a:hlink>
          <a:srgbClr val="439639"/>
        </a:hlink>
        <a:folHlink>
          <a:srgbClr val="3333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14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FFFF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FFAA"/>
        </a:accent5>
        <a:accent6>
          <a:srgbClr val="E78A00"/>
        </a:accent6>
        <a:hlink>
          <a:srgbClr val="00FF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Default Design 15">
        <a:dk1>
          <a:srgbClr val="000000"/>
        </a:dk1>
        <a:lt1>
          <a:srgbClr val="FFFFFF"/>
        </a:lt1>
        <a:dk2>
          <a:srgbClr val="FFFFFF"/>
        </a:dk2>
        <a:lt2>
          <a:srgbClr val="000000"/>
        </a:lt2>
        <a:accent1>
          <a:srgbClr val="F2D2A8"/>
        </a:accent1>
        <a:accent2>
          <a:srgbClr val="E37F1C"/>
        </a:accent2>
        <a:accent3>
          <a:srgbClr val="FFFFFF"/>
        </a:accent3>
        <a:accent4>
          <a:srgbClr val="000000"/>
        </a:accent4>
        <a:accent5>
          <a:srgbClr val="F7E5D1"/>
        </a:accent5>
        <a:accent6>
          <a:srgbClr val="CE7218"/>
        </a:accent6>
        <a:hlink>
          <a:srgbClr val="99CCFF"/>
        </a:hlink>
        <a:folHlink>
          <a:srgbClr val="FEFE7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</TotalTime>
  <Words>921</Words>
  <Application>Microsoft Office PowerPoint</Application>
  <PresentationFormat>On-screen Show (4:3)</PresentationFormat>
  <Paragraphs>202</Paragraphs>
  <Slides>18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19" baseType="lpstr">
      <vt:lpstr>16_Default Design</vt:lpstr>
      <vt:lpstr>30-Day Outcomes Following Implantation of a Repositionable Self-Expanding Aortic Bioprosthesis:  First Report From the FORWARD Study </vt:lpstr>
      <vt:lpstr>Disclosures</vt:lpstr>
      <vt:lpstr>Evolut R Clinical Program</vt:lpstr>
      <vt:lpstr>Evolut R System</vt:lpstr>
      <vt:lpstr>Evolut R FORWARD Study</vt:lpstr>
      <vt:lpstr>Secondary Endpoints</vt:lpstr>
      <vt:lpstr>Inclusion and Exclusion Criteria</vt:lpstr>
      <vt:lpstr>Study Oversight and Participation</vt:lpstr>
      <vt:lpstr>Baseline Clinical Characteristics</vt:lpstr>
      <vt:lpstr>Procedural Data</vt:lpstr>
      <vt:lpstr>30-Day All-Cause Mortality</vt:lpstr>
      <vt:lpstr>Procedural Data</vt:lpstr>
      <vt:lpstr>VARC-II Safety Endpoints at 30 Days</vt:lpstr>
      <vt:lpstr>Additional 30-Day Safety Endpoints </vt:lpstr>
      <vt:lpstr>Resheath and Recapture</vt:lpstr>
      <vt:lpstr>Hemodynamic Outcomes*</vt:lpstr>
      <vt:lpstr>New York Heart Association Functional Class</vt:lpstr>
      <vt:lpstr>Conclusions</vt:lpstr>
    </vt:vector>
  </TitlesOfParts>
  <Company>Medtronic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ies-Devlin, Jessica</dc:creator>
  <cp:lastModifiedBy>Lane, Janine</cp:lastModifiedBy>
  <cp:revision>345</cp:revision>
  <dcterms:created xsi:type="dcterms:W3CDTF">2015-04-03T18:19:12Z</dcterms:created>
  <dcterms:modified xsi:type="dcterms:W3CDTF">2016-10-30T18:16:50Z</dcterms:modified>
</cp:coreProperties>
</file>